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6"/>
    <p:sldMasterId id="2147483660" r:id="rId7"/>
    <p:sldMasterId id="2147483672" r:id="rId8"/>
  </p:sldMasterIdLst>
  <p:notesMasterIdLst>
    <p:notesMasterId r:id="rId30"/>
  </p:notesMasterIdLst>
  <p:handoutMasterIdLst>
    <p:handoutMasterId r:id="rId31"/>
  </p:handoutMasterIdLst>
  <p:sldIdLst>
    <p:sldId id="343" r:id="rId9"/>
    <p:sldId id="452" r:id="rId10"/>
    <p:sldId id="495" r:id="rId11"/>
    <p:sldId id="455" r:id="rId12"/>
    <p:sldId id="456" r:id="rId13"/>
    <p:sldId id="457" r:id="rId14"/>
    <p:sldId id="453" r:id="rId15"/>
    <p:sldId id="497" r:id="rId16"/>
    <p:sldId id="498" r:id="rId17"/>
    <p:sldId id="502" r:id="rId18"/>
    <p:sldId id="503" r:id="rId19"/>
    <p:sldId id="504" r:id="rId20"/>
    <p:sldId id="505" r:id="rId21"/>
    <p:sldId id="506" r:id="rId22"/>
    <p:sldId id="458" r:id="rId23"/>
    <p:sldId id="459" r:id="rId24"/>
    <p:sldId id="507" r:id="rId25"/>
    <p:sldId id="508" r:id="rId26"/>
    <p:sldId id="509" r:id="rId27"/>
    <p:sldId id="510" r:id="rId28"/>
    <p:sldId id="408" r:id="rId29"/>
  </p:sldIdLst>
  <p:sldSz cx="9144000" cy="6858000" type="screen4x3"/>
  <p:notesSz cx="6735763" cy="98663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CC"/>
    <a:srgbClr val="3888CA"/>
    <a:srgbClr val="FFFFFF"/>
    <a:srgbClr val="084976"/>
    <a:srgbClr val="1B5983"/>
    <a:srgbClr val="216C9F"/>
    <a:srgbClr val="265A9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40" autoAdjust="0"/>
    <p:restoredTop sz="95793" autoAdjust="0"/>
  </p:normalViewPr>
  <p:slideViewPr>
    <p:cSldViewPr>
      <p:cViewPr varScale="1">
        <p:scale>
          <a:sx n="91" d="100"/>
          <a:sy n="91" d="100"/>
        </p:scale>
        <p:origin x="1190" y="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3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openxmlformats.org/officeDocument/2006/relationships/theme" Target="theme/theme1.xml"/><Relationship Id="rId7" Type="http://schemas.openxmlformats.org/officeDocument/2006/relationships/slideMaster" Target="slideMasters/slideMaster2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19565" cy="49386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14627" y="1"/>
            <a:ext cx="2919565" cy="49386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39CF1F-E6F6-4C12-B0FC-79FF134CDCE5}" type="datetimeFigureOut">
              <a:rPr lang="ru-RU" smtClean="0"/>
              <a:t>26.03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370869"/>
            <a:ext cx="2919565" cy="4938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14627" y="9370869"/>
            <a:ext cx="2919565" cy="4938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15B6C8D-1F19-460C-8550-FBD0E7A1B15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12332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19565" cy="49386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4627" y="1"/>
            <a:ext cx="2919565" cy="49386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415E9A-56C9-4204-9B3E-7B61DEF1A63D}" type="datetimeFigureOut">
              <a:rPr lang="ru-RU" smtClean="0"/>
              <a:t>26.03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1700" y="739775"/>
            <a:ext cx="493236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264" y="4686224"/>
            <a:ext cx="5389239" cy="444007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0869"/>
            <a:ext cx="2919565" cy="4938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4627" y="9370869"/>
            <a:ext cx="2919565" cy="4938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E9792E-CF52-4F82-BFE7-89CE0FA348B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272094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E9792E-CF52-4F82-BFE7-89CE0FA348B9}" type="slidenum">
              <a:rPr lang="ru-RU" smtClean="0"/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294077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CD69588-8C96-436B-811E-816BDDBFE22E}" type="datetimeFigureOut">
              <a:rPr lang="ru-RU" smtClean="0"/>
              <a:t>26.03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C2B59FA-94E0-4A19-A130-819CA896967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670902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CD69588-8C96-436B-811E-816BDDBFE22E}" type="datetimeFigureOut">
              <a:rPr lang="ru-RU" smtClean="0"/>
              <a:t>26.03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C2B59FA-94E0-4A19-A130-819CA896967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971954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CD69588-8C96-436B-811E-816BDDBFE22E}" type="datetimeFigureOut">
              <a:rPr lang="ru-RU" smtClean="0"/>
              <a:t>26.03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C2B59FA-94E0-4A19-A130-819CA896967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38627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BC73A3-2951-4290-9956-04E3E2CD859E}" type="datetimeFigureOut">
              <a:rPr lang="ru-RU" smtClean="0"/>
              <a:t>26.03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D51F35-E241-4BA3-8671-46CAADF85BE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5804059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BC73A3-2951-4290-9956-04E3E2CD859E}" type="datetimeFigureOut">
              <a:rPr lang="ru-RU" smtClean="0"/>
              <a:t>26.03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D51F35-E241-4BA3-8671-46CAADF85BE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8835275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BC73A3-2951-4290-9956-04E3E2CD859E}" type="datetimeFigureOut">
              <a:rPr lang="ru-RU" smtClean="0"/>
              <a:t>26.03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D51F35-E241-4BA3-8671-46CAADF85BE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970407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BC73A3-2951-4290-9956-04E3E2CD859E}" type="datetimeFigureOut">
              <a:rPr lang="ru-RU" smtClean="0"/>
              <a:t>26.03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D51F35-E241-4BA3-8671-46CAADF85BE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06197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BC73A3-2951-4290-9956-04E3E2CD859E}" type="datetimeFigureOut">
              <a:rPr lang="ru-RU" smtClean="0"/>
              <a:t>26.03.2018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D51F35-E241-4BA3-8671-46CAADF85BE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22503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BC73A3-2951-4290-9956-04E3E2CD859E}" type="datetimeFigureOut">
              <a:rPr lang="ru-RU" smtClean="0"/>
              <a:t>26.03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D51F35-E241-4BA3-8671-46CAADF85BE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95252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BC73A3-2951-4290-9956-04E3E2CD859E}" type="datetimeFigureOut">
              <a:rPr lang="ru-RU" smtClean="0"/>
              <a:t>26.03.2018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D51F35-E241-4BA3-8671-46CAADF85BE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5511938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BC73A3-2951-4290-9956-04E3E2CD859E}" type="datetimeFigureOut">
              <a:rPr lang="ru-RU" smtClean="0"/>
              <a:t>26.03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D51F35-E241-4BA3-8671-46CAADF85BE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506588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CD69588-8C96-436B-811E-816BDDBFE22E}" type="datetimeFigureOut">
              <a:rPr lang="ru-RU" smtClean="0"/>
              <a:t>26.03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C2B59FA-94E0-4A19-A130-819CA896967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203363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BC73A3-2951-4290-9956-04E3E2CD859E}" type="datetimeFigureOut">
              <a:rPr lang="ru-RU" smtClean="0"/>
              <a:t>26.03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D51F35-E241-4BA3-8671-46CAADF85BE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56626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BC73A3-2951-4290-9956-04E3E2CD859E}" type="datetimeFigureOut">
              <a:rPr lang="ru-RU" smtClean="0"/>
              <a:t>26.03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D51F35-E241-4BA3-8671-46CAADF85BE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908787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BC73A3-2951-4290-9956-04E3E2CD859E}" type="datetimeFigureOut">
              <a:rPr lang="ru-RU" smtClean="0"/>
              <a:t>26.03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D51F35-E241-4BA3-8671-46CAADF85BE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772914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BC73A3-2951-4290-9956-04E3E2CD859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3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D51F35-E241-4BA3-8671-46CAADF85BE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120597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BC73A3-2951-4290-9956-04E3E2CD859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3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D51F35-E241-4BA3-8671-46CAADF85BE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854199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BC73A3-2951-4290-9956-04E3E2CD859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3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D51F35-E241-4BA3-8671-46CAADF85BE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294335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BC73A3-2951-4290-9956-04E3E2CD859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3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D51F35-E241-4BA3-8671-46CAADF85BE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590132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BC73A3-2951-4290-9956-04E3E2CD859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3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D51F35-E241-4BA3-8671-46CAADF85BE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197789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BC73A3-2951-4290-9956-04E3E2CD859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3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D51F35-E241-4BA3-8671-46CAADF85BE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867450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BC73A3-2951-4290-9956-04E3E2CD859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3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D51F35-E241-4BA3-8671-46CAADF85BE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29450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CD69588-8C96-436B-811E-816BDDBFE22E}" type="datetimeFigureOut">
              <a:rPr lang="ru-RU" smtClean="0"/>
              <a:t>26.03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C2B59FA-94E0-4A19-A130-819CA896967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0999346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BC73A3-2951-4290-9956-04E3E2CD859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3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D51F35-E241-4BA3-8671-46CAADF85BE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365632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BC73A3-2951-4290-9956-04E3E2CD859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3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D51F35-E241-4BA3-8671-46CAADF85BE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107132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BC73A3-2951-4290-9956-04E3E2CD859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3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D51F35-E241-4BA3-8671-46CAADF85BE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070727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BC73A3-2951-4290-9956-04E3E2CD859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3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D51F35-E241-4BA3-8671-46CAADF85BE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81586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CD69588-8C96-436B-811E-816BDDBFE22E}" type="datetimeFigureOut">
              <a:rPr lang="ru-RU" smtClean="0"/>
              <a:t>26.03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C2B59FA-94E0-4A19-A130-819CA896967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9746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CD69588-8C96-436B-811E-816BDDBFE22E}" type="datetimeFigureOut">
              <a:rPr lang="ru-RU" smtClean="0"/>
              <a:t>26.03.2018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C2B59FA-94E0-4A19-A130-819CA896967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32646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CD69588-8C96-436B-811E-816BDDBFE22E}" type="datetimeFigureOut">
              <a:rPr lang="ru-RU" smtClean="0"/>
              <a:t>26.03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C2B59FA-94E0-4A19-A130-819CA896967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43257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CD69588-8C96-436B-811E-816BDDBFE22E}" type="datetimeFigureOut">
              <a:rPr lang="ru-RU" smtClean="0"/>
              <a:t>26.03.2018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C2B59FA-94E0-4A19-A130-819CA896967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950996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CD69588-8C96-436B-811E-816BDDBFE22E}" type="datetimeFigureOut">
              <a:rPr lang="ru-RU" smtClean="0"/>
              <a:t>26.03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C2B59FA-94E0-4A19-A130-819CA896967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979973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CD69588-8C96-436B-811E-816BDDBFE22E}" type="datetimeFigureOut">
              <a:rPr lang="ru-RU" smtClean="0"/>
              <a:t>26.03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C2B59FA-94E0-4A19-A130-819CA896967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080367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331018"/>
            <a:ext cx="9144000" cy="31827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10" name="Picture 4" descr="D:\Мои документы\Фирменный_стиль\Arrow2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132" y="332656"/>
            <a:ext cx="366412" cy="3250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 userDrawn="1"/>
        </p:nvSpPr>
        <p:spPr>
          <a:xfrm>
            <a:off x="7812360" y="69297"/>
            <a:ext cx="864096" cy="10527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1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872096" y="69297"/>
            <a:ext cx="744621" cy="766807"/>
          </a:xfrm>
          <a:prstGeom prst="rect">
            <a:avLst/>
          </a:prstGeom>
        </p:spPr>
      </p:pic>
      <p:sp>
        <p:nvSpPr>
          <p:cNvPr id="4" name="Прямоугольник 3"/>
          <p:cNvSpPr/>
          <p:nvPr userDrawn="1"/>
        </p:nvSpPr>
        <p:spPr>
          <a:xfrm>
            <a:off x="8665754" y="297486"/>
            <a:ext cx="44275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C2B59FA-94E0-4A19-A130-819CA8969678}" type="slidenum">
              <a:rPr lang="ru-RU" sz="2000" b="1" smtClean="0">
                <a:solidFill>
                  <a:schemeClr val="bg1"/>
                </a:solidFill>
                <a:latin typeface="Arial Narrow" panose="020B0606020202030204" pitchFamily="34" charset="0"/>
              </a:rPr>
              <a:pPr algn="r"/>
              <a:t>‹#›</a:t>
            </a:fld>
            <a:endParaRPr lang="ru-RU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76072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5BC73A3-2951-4290-9956-04E3E2CD859E}" type="datetimeFigureOut">
              <a:rPr lang="ru-RU" smtClean="0"/>
              <a:t>26.03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ED51F35-E241-4BA3-8671-46CAADF85BE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84587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5BC73A3-2951-4290-9956-04E3E2CD859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3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ED51F35-E241-4BA3-8671-46CAADF85BE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47804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.png"/><Relationship Id="rId5" Type="http://schemas.openxmlformats.org/officeDocument/2006/relationships/image" Target="../media/image5.png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90.png"/><Relationship Id="rId5" Type="http://schemas.openxmlformats.org/officeDocument/2006/relationships/image" Target="../media/image180.png"/><Relationship Id="rId4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gif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5" Type="http://schemas.openxmlformats.org/officeDocument/2006/relationships/tags" Target="../tags/tag10.xml"/><Relationship Id="rId4" Type="http://schemas.openxmlformats.org/officeDocument/2006/relationships/tags" Target="../tags/tag9.xml"/><Relationship Id="rId9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13" Type="http://schemas.openxmlformats.org/officeDocument/2006/relationships/image" Target="../media/image45.png"/><Relationship Id="rId18" Type="http://schemas.openxmlformats.org/officeDocument/2006/relationships/image" Target="../media/image50.pn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12" Type="http://schemas.openxmlformats.org/officeDocument/2006/relationships/image" Target="../media/image44.png"/><Relationship Id="rId17" Type="http://schemas.openxmlformats.org/officeDocument/2006/relationships/image" Target="../media/image49.png"/><Relationship Id="rId2" Type="http://schemas.openxmlformats.org/officeDocument/2006/relationships/image" Target="../media/image33.png"/><Relationship Id="rId16" Type="http://schemas.openxmlformats.org/officeDocument/2006/relationships/image" Target="../media/image4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7.png"/><Relationship Id="rId11" Type="http://schemas.openxmlformats.org/officeDocument/2006/relationships/image" Target="../media/image42.png"/><Relationship Id="rId5" Type="http://schemas.openxmlformats.org/officeDocument/2006/relationships/image" Target="../media/image36.png"/><Relationship Id="rId15" Type="http://schemas.openxmlformats.org/officeDocument/2006/relationships/image" Target="../media/image47.png"/><Relationship Id="rId10" Type="http://schemas.openxmlformats.org/officeDocument/2006/relationships/image" Target="../media/image41.png"/><Relationship Id="rId4" Type="http://schemas.openxmlformats.org/officeDocument/2006/relationships/image" Target="../media/image35.png"/><Relationship Id="rId9" Type="http://schemas.openxmlformats.org/officeDocument/2006/relationships/image" Target="../media/image40.png"/><Relationship Id="rId14" Type="http://schemas.openxmlformats.org/officeDocument/2006/relationships/image" Target="../media/image46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3.png"/><Relationship Id="rId7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.png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bogomolov_a\Documents\Фирменный_стиль\Россети flat horizontal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3808" y="1467639"/>
            <a:ext cx="3528392" cy="1344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0" y="2811789"/>
            <a:ext cx="9144000" cy="3240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9" name="Picture 5" descr="C:\Users\bogomolov_a\Documents\Фирменный_стиль\Arrow.PNG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667" y="2816186"/>
            <a:ext cx="336917" cy="298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Текст 1"/>
          <p:cNvSpPr txBox="1">
            <a:spLocks/>
          </p:cNvSpPr>
          <p:nvPr/>
        </p:nvSpPr>
        <p:spPr>
          <a:xfrm>
            <a:off x="0" y="3340008"/>
            <a:ext cx="8892480" cy="953669"/>
          </a:xfrm>
          <a:prstGeom prst="rect">
            <a:avLst/>
          </a:prstGeom>
        </p:spPr>
        <p:txBody>
          <a:bodyPr vert="horz" wrap="square" lIns="33596" tIns="45503" rIns="91029" bIns="45503" rtlCol="0" anchor="ctr">
            <a:spAutoFit/>
          </a:bodyPr>
          <a:lstStyle>
            <a:defPPr>
              <a:defRPr lang="ru-RU"/>
            </a:defPPr>
            <a:lvl1pPr marL="0" algn="r" defTabSz="910238" rtl="0" eaLnBrk="1" fontAlgn="auto" latinLnBrk="0" hangingPunct="1">
              <a:spcBef>
                <a:spcPts val="0"/>
              </a:spcBef>
              <a:spcAft>
                <a:spcPts val="0"/>
              </a:spcAft>
              <a:defRPr sz="1200" kern="1200">
                <a:solidFill>
                  <a:prstClr val="black">
                    <a:tint val="75000"/>
                  </a:prst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800" dirty="0">
                <a:solidFill>
                  <a:prstClr val="white">
                    <a:lumMod val="50000"/>
                  </a:prstClr>
                </a:solidFill>
                <a:latin typeface="Arial Narrow" panose="020B0606020202030204" pitchFamily="34" charset="0"/>
              </a:rPr>
              <a:t>Базовые понятия теории сложных сетей и </a:t>
            </a:r>
          </a:p>
          <a:p>
            <a:pPr algn="ctr"/>
            <a:r>
              <a:rPr lang="ru-RU" sz="2800" dirty="0">
                <a:solidFill>
                  <a:prstClr val="white">
                    <a:lumMod val="50000"/>
                  </a:prstClr>
                </a:solidFill>
                <a:latin typeface="Arial Narrow" panose="020B0606020202030204" pitchFamily="34" charset="0"/>
              </a:rPr>
              <a:t>введение в прикладное использование ТСС</a:t>
            </a:r>
          </a:p>
        </p:txBody>
      </p:sp>
      <p:sp>
        <p:nvSpPr>
          <p:cNvPr id="13" name="Текст 2"/>
          <p:cNvSpPr txBox="1">
            <a:spLocks/>
          </p:cNvSpPr>
          <p:nvPr/>
        </p:nvSpPr>
        <p:spPr>
          <a:xfrm>
            <a:off x="2627784" y="5805264"/>
            <a:ext cx="4032448" cy="107721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340769" indent="-340769" algn="l" defTabSz="909701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5"/>
              </a:buBlip>
              <a:defRPr lang="en-US" sz="2300" kern="1200" dirty="0">
                <a:solidFill>
                  <a:srgbClr val="10253F"/>
                </a:solidFill>
                <a:latin typeface="Arial" pitchFamily="34" charset="0"/>
                <a:ea typeface="+mn-ea"/>
                <a:cs typeface="+mn-cs"/>
              </a:defRPr>
            </a:lvl1pPr>
            <a:lvl2pPr marL="739328" indent="-282991" algn="l" defTabSz="909701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lang="en-US" sz="1900" kern="1200" dirty="0">
                <a:solidFill>
                  <a:srgbClr val="10253F"/>
                </a:solidFill>
                <a:latin typeface="Arial" pitchFamily="34" charset="0"/>
                <a:ea typeface="+mn-ea"/>
                <a:cs typeface="+mn-cs"/>
              </a:defRPr>
            </a:lvl2pPr>
            <a:lvl3pPr marL="1136386" indent="-226628" algn="l" defTabSz="909701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300" kern="1200">
                <a:solidFill>
                  <a:srgbClr val="10253F"/>
                </a:solidFill>
                <a:latin typeface="Arial" pitchFamily="34" charset="0"/>
                <a:ea typeface="+mn-ea"/>
                <a:cs typeface="+mn-cs"/>
              </a:defRPr>
            </a:lvl3pPr>
            <a:lvl4pPr marL="1592713" indent="-226628" algn="l" defTabSz="909701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500" kern="1200">
                <a:solidFill>
                  <a:srgbClr val="10253F"/>
                </a:solidFill>
                <a:latin typeface="Arial" pitchFamily="34" charset="0"/>
                <a:ea typeface="+mn-ea"/>
                <a:cs typeface="+mn-cs"/>
              </a:defRPr>
            </a:lvl4pPr>
            <a:lvl5pPr marL="2047574" indent="-226628" algn="l" defTabSz="909701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500" kern="1200">
                <a:solidFill>
                  <a:srgbClr val="10253F"/>
                </a:solidFill>
                <a:latin typeface="Arial" pitchFamily="34" charset="0"/>
                <a:ea typeface="+mn-ea"/>
                <a:cs typeface="+mn-cs"/>
              </a:defRPr>
            </a:lvl5pPr>
            <a:lvl6pPr marL="2503150" indent="-227513" algn="l" defTabSz="91023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58273" indent="-227513" algn="l" defTabSz="91023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13392" indent="-227513" algn="l" defTabSz="91023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68512" indent="-227513" algn="l" defTabSz="91023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FontTx/>
              <a:buNone/>
            </a:pPr>
            <a:r>
              <a:rPr lang="ru-RU" sz="2000" dirty="0">
                <a:solidFill>
                  <a:prstClr val="white">
                    <a:lumMod val="50000"/>
                  </a:prstClr>
                </a:solidFill>
                <a:latin typeface="Arial Narrow" panose="020B0606020202030204" pitchFamily="34" charset="0"/>
              </a:rPr>
              <a:t>к.э.н. Сергей Вячеславович Макрушин</a:t>
            </a:r>
            <a:endParaRPr lang="en-US" sz="2000" dirty="0">
              <a:solidFill>
                <a:prstClr val="white">
                  <a:lumMod val="50000"/>
                </a:prstClr>
              </a:solidFill>
              <a:latin typeface="Arial Narrow" panose="020B0606020202030204" pitchFamily="34" charset="0"/>
            </a:endParaRPr>
          </a:p>
          <a:p>
            <a:pPr marL="0" indent="0" algn="ctr">
              <a:buNone/>
            </a:pPr>
            <a:r>
              <a:rPr lang="en-US" sz="2000" dirty="0">
                <a:solidFill>
                  <a:prstClr val="white">
                    <a:lumMod val="50000"/>
                  </a:prstClr>
                </a:solidFill>
                <a:latin typeface="Arial Narrow" panose="020B0606020202030204" pitchFamily="34" charset="0"/>
              </a:rPr>
              <a:t>SVMakrushin@fa.ru</a:t>
            </a:r>
            <a:endParaRPr lang="ru-RU" sz="2000" dirty="0">
              <a:solidFill>
                <a:prstClr val="white">
                  <a:lumMod val="50000"/>
                </a:prstClr>
              </a:solidFill>
              <a:latin typeface="Arial Narrow" panose="020B0606020202030204" pitchFamily="34" charset="0"/>
            </a:endParaRPr>
          </a:p>
          <a:p>
            <a:pPr marL="0" indent="0" algn="ctr">
              <a:spcBef>
                <a:spcPts val="0"/>
              </a:spcBef>
              <a:buFontTx/>
              <a:buNone/>
            </a:pPr>
            <a:r>
              <a:rPr lang="ru-RU" sz="2000" dirty="0">
                <a:solidFill>
                  <a:prstClr val="white">
                    <a:lumMod val="50000"/>
                  </a:prstClr>
                </a:solidFill>
                <a:latin typeface="Arial Narrow" panose="020B0606020202030204" pitchFamily="34" charset="0"/>
              </a:rPr>
              <a:t>201</a:t>
            </a:r>
            <a:r>
              <a:rPr lang="en-US" sz="2000" dirty="0">
                <a:solidFill>
                  <a:prstClr val="white">
                    <a:lumMod val="50000"/>
                  </a:prstClr>
                </a:solidFill>
                <a:latin typeface="Arial Narrow" panose="020B0606020202030204" pitchFamily="34" charset="0"/>
              </a:rPr>
              <a:t>8 </a:t>
            </a:r>
            <a:r>
              <a:rPr lang="ru-RU" sz="2000" dirty="0">
                <a:solidFill>
                  <a:prstClr val="white">
                    <a:lumMod val="50000"/>
                  </a:prstClr>
                </a:solidFill>
                <a:latin typeface="Arial Narrow" panose="020B0606020202030204" pitchFamily="34" charset="0"/>
              </a:rPr>
              <a:t>г.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2879812" y="1577791"/>
            <a:ext cx="3384376" cy="1080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6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267744" y="4699398"/>
            <a:ext cx="864096" cy="889842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7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prstClr val="black"/>
              <a:schemeClr val="accent1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3239852" y="4647962"/>
            <a:ext cx="2664296" cy="941278"/>
          </a:xfrm>
          <a:prstGeom prst="rect">
            <a:avLst/>
          </a:prstGeom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31EC01E6-B0A3-45AD-A79D-1E64A07B8142}"/>
              </a:ext>
            </a:extLst>
          </p:cNvPr>
          <p:cNvSpPr/>
          <p:nvPr/>
        </p:nvSpPr>
        <p:spPr>
          <a:xfrm>
            <a:off x="1817224" y="452725"/>
            <a:ext cx="5526144" cy="12326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3600" dirty="0">
                <a:solidFill>
                  <a:srgbClr val="3888CA"/>
                </a:solidFill>
                <a:latin typeface="Arial Narrow" panose="020B0606020202030204" pitchFamily="34" charset="0"/>
              </a:rPr>
              <a:t>Алгоритмы и технологии анализа сложных сетей</a:t>
            </a:r>
            <a:endParaRPr lang="ru-RU" dirty="0">
              <a:solidFill>
                <a:prstClr val="white">
                  <a:lumMod val="50000"/>
                </a:prstClr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20007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0" y="2811789"/>
            <a:ext cx="9144000" cy="3240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4" name="Picture 5" descr="C:\Users\bogomolov_a\Documents\Фирменный_стиль\Arrow.PNG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667" y="2816186"/>
            <a:ext cx="336917" cy="298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Текст 1"/>
          <p:cNvSpPr txBox="1">
            <a:spLocks/>
          </p:cNvSpPr>
          <p:nvPr/>
        </p:nvSpPr>
        <p:spPr>
          <a:xfrm>
            <a:off x="107505" y="2258146"/>
            <a:ext cx="8954392" cy="522782"/>
          </a:xfrm>
          <a:prstGeom prst="rect">
            <a:avLst/>
          </a:prstGeom>
        </p:spPr>
        <p:txBody>
          <a:bodyPr vert="horz" wrap="square" lIns="33596" tIns="45503" rIns="91029" bIns="45503" rtlCol="0" anchor="ctr">
            <a:spAutoFit/>
          </a:bodyPr>
          <a:lstStyle>
            <a:defPPr>
              <a:defRPr lang="ru-RU"/>
            </a:defPPr>
            <a:lvl1pPr marL="0" algn="r" defTabSz="910238" rtl="0" eaLnBrk="1" fontAlgn="auto" latinLnBrk="0" hangingPunct="1">
              <a:spcBef>
                <a:spcPts val="0"/>
              </a:spcBef>
              <a:spcAft>
                <a:spcPts val="0"/>
              </a:spcAft>
              <a:defRPr sz="1200" kern="1200">
                <a:solidFill>
                  <a:prstClr val="black">
                    <a:tint val="75000"/>
                  </a:prst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800" dirty="0">
                <a:solidFill>
                  <a:prstClr val="white">
                    <a:lumMod val="50000"/>
                  </a:prstClr>
                </a:solidFill>
                <a:latin typeface="Arial Narrow" panose="020B0606020202030204" pitchFamily="34" charset="0"/>
              </a:rPr>
              <a:t>Базовые понятия</a:t>
            </a:r>
          </a:p>
        </p:txBody>
      </p:sp>
    </p:spTree>
    <p:extLst>
      <p:ext uri="{BB962C8B-B14F-4D97-AF65-F5344CB8AC3E}">
        <p14:creationId xmlns:p14="http://schemas.microsoft.com/office/powerpoint/2010/main" val="32461629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730175" y="296571"/>
            <a:ext cx="874353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  <a:latin typeface="Arial Narrow" panose="020B0606020202030204" pitchFamily="34" charset="0"/>
              </a:rPr>
              <a:t>СЕТЬ - ПРЕДСТАВЛЕНИЕ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251520" y="853052"/>
            <a:ext cx="871296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200" b="1" dirty="0">
                <a:solidFill>
                  <a:schemeClr val="accent1"/>
                </a:solidFill>
                <a:latin typeface="Arial Narrow" panose="020B0606020202030204" pitchFamily="34" charset="0"/>
              </a:rPr>
              <a:t>Сеть (граф) – множество узлов (вершин) и связей (ребер) соединяющих пары узлов</a:t>
            </a:r>
            <a:endParaRPr lang="ru-RU" sz="2200" dirty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281" y="2149103"/>
            <a:ext cx="2276475" cy="197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2157" y="2179125"/>
            <a:ext cx="2768345" cy="2130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1604255" y="1636271"/>
            <a:ext cx="78739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>
                <a:solidFill>
                  <a:schemeClr val="accent1"/>
                </a:solidFill>
                <a:latin typeface="Arial Narrow" panose="020B0606020202030204" pitchFamily="34" charset="0"/>
              </a:rPr>
              <a:t>Сеть</a:t>
            </a:r>
            <a:endParaRPr lang="ru-RU" sz="2400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4829818" y="1636271"/>
            <a:ext cx="334258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>
                <a:solidFill>
                  <a:schemeClr val="accent1"/>
                </a:solidFill>
                <a:latin typeface="Arial Narrow" panose="020B0606020202030204" pitchFamily="34" charset="0"/>
              </a:rPr>
              <a:t>Матрица смежности сети</a:t>
            </a:r>
            <a:endParaRPr lang="ru-RU" sz="2400" dirty="0"/>
          </a:p>
        </p:txBody>
      </p:sp>
      <p:pic>
        <p:nvPicPr>
          <p:cNvPr id="8196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6880" y="4732759"/>
            <a:ext cx="5524500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2925998" y="4309343"/>
            <a:ext cx="274626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>
                <a:solidFill>
                  <a:schemeClr val="accent1"/>
                </a:solidFill>
                <a:latin typeface="Arial Narrow" panose="020B0606020202030204" pitchFamily="34" charset="0"/>
              </a:rPr>
              <a:t>Список связей сети</a:t>
            </a:r>
            <a:endParaRPr lang="ru-RU" sz="2400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2239627" y="3369239"/>
            <a:ext cx="704039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200" b="1" dirty="0">
                <a:solidFill>
                  <a:schemeClr val="accent1"/>
                </a:solidFill>
                <a:latin typeface="Arial Narrow" panose="020B0606020202030204" pitchFamily="34" charset="0"/>
              </a:rPr>
              <a:t>узел</a:t>
            </a:r>
            <a:endParaRPr lang="ru-RU" sz="2200" dirty="0"/>
          </a:p>
        </p:txBody>
      </p:sp>
      <p:sp>
        <p:nvSpPr>
          <p:cNvPr id="13" name="Прямоугольник 12"/>
          <p:cNvSpPr/>
          <p:nvPr/>
        </p:nvSpPr>
        <p:spPr>
          <a:xfrm rot="387704">
            <a:off x="1363605" y="3563621"/>
            <a:ext cx="848309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200" b="1" dirty="0">
                <a:solidFill>
                  <a:schemeClr val="accent1"/>
                </a:solidFill>
                <a:latin typeface="Arial Narrow" panose="020B0606020202030204" pitchFamily="34" charset="0"/>
              </a:rPr>
              <a:t>связь</a:t>
            </a:r>
            <a:endParaRPr lang="ru-RU" sz="2200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2866776" y="1883718"/>
            <a:ext cx="1050288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200" b="1" dirty="0">
                <a:solidFill>
                  <a:schemeClr val="accent1"/>
                </a:solidFill>
                <a:latin typeface="Arial Narrow" panose="020B0606020202030204" pitchFamily="34" charset="0"/>
              </a:rPr>
              <a:t>индекс </a:t>
            </a:r>
          </a:p>
          <a:p>
            <a:r>
              <a:rPr lang="ru-RU" sz="2200" b="1" dirty="0">
                <a:solidFill>
                  <a:schemeClr val="accent1"/>
                </a:solidFill>
                <a:latin typeface="Arial Narrow" panose="020B0606020202030204" pitchFamily="34" charset="0"/>
              </a:rPr>
              <a:t>узла</a:t>
            </a:r>
            <a:endParaRPr lang="ru-RU" sz="2200" dirty="0"/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6291684" y="2302272"/>
            <a:ext cx="2088232" cy="1944216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Прямоугольник 15"/>
          <p:cNvSpPr/>
          <p:nvPr/>
        </p:nvSpPr>
        <p:spPr>
          <a:xfrm>
            <a:off x="2264758" y="5262165"/>
            <a:ext cx="406874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>
                <a:solidFill>
                  <a:schemeClr val="accent1"/>
                </a:solidFill>
                <a:latin typeface="Arial Narrow" panose="020B0606020202030204" pitchFamily="34" charset="0"/>
              </a:rPr>
              <a:t>Интегральные характеристики</a:t>
            </a:r>
            <a:endParaRPr lang="ru-RU" sz="24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1850713" y="5723830"/>
            <a:ext cx="567956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latin typeface="Arial" charset="0"/>
                <a:cs typeface="Arial" charset="0"/>
              </a:rPr>
              <a:t>Количество узлов – </a:t>
            </a:r>
            <a:r>
              <a:rPr lang="en-US" dirty="0">
                <a:latin typeface="Arial" charset="0"/>
                <a:cs typeface="Arial" charset="0"/>
              </a:rPr>
              <a:t>N</a:t>
            </a:r>
            <a:r>
              <a:rPr lang="ru-RU" dirty="0">
                <a:latin typeface="Arial" charset="0"/>
                <a:cs typeface="Arial" charset="0"/>
              </a:rPr>
              <a:t>=6</a:t>
            </a:r>
            <a:r>
              <a:rPr lang="en-US" dirty="0">
                <a:latin typeface="Arial" charset="0"/>
                <a:cs typeface="Arial" charset="0"/>
              </a:rPr>
              <a:t>; </a:t>
            </a:r>
            <a:r>
              <a:rPr lang="ru-RU" dirty="0">
                <a:latin typeface="Arial" charset="0"/>
                <a:cs typeface="Arial" charset="0"/>
              </a:rPr>
              <a:t>количество связей – </a:t>
            </a:r>
            <a:r>
              <a:rPr lang="en-US" dirty="0">
                <a:latin typeface="Arial" charset="0"/>
                <a:cs typeface="Arial" charset="0"/>
              </a:rPr>
              <a:t>L</a:t>
            </a:r>
            <a:r>
              <a:rPr lang="ru-RU" dirty="0">
                <a:latin typeface="Arial" charset="0"/>
                <a:cs typeface="Arial" charset="0"/>
              </a:rPr>
              <a:t>=8 .</a:t>
            </a:r>
            <a:endParaRPr lang="ru-R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Прямоугольник 9"/>
              <p:cNvSpPr/>
              <p:nvPr/>
            </p:nvSpPr>
            <p:spPr>
              <a:xfrm>
                <a:off x="4917076" y="6073424"/>
                <a:ext cx="1327608" cy="61093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ru-RU" i="1">
                          <a:latin typeface="Cambria Math"/>
                        </a:rPr>
                        <m:t>&lt;</m:t>
                      </m:r>
                      <m:r>
                        <a:rPr lang="ru-RU" i="1">
                          <a:latin typeface="Cambria Math"/>
                        </a:rPr>
                        <m:t>𝑘</m:t>
                      </m:r>
                      <m:r>
                        <a:rPr lang="ru-RU" i="1">
                          <a:latin typeface="Cambria Math"/>
                        </a:rPr>
                        <m:t>&gt;=</m:t>
                      </m:r>
                      <m:f>
                        <m:fPr>
                          <m:ctrlPr>
                            <a:rPr lang="ru-RU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ru-RU" i="1">
                              <a:latin typeface="Cambria Math"/>
                            </a:rPr>
                            <m:t>2</m:t>
                          </m:r>
                          <m:r>
                            <a:rPr lang="ru-RU" i="1">
                              <a:latin typeface="Cambria Math"/>
                            </a:rPr>
                            <m:t>𝐿</m:t>
                          </m:r>
                        </m:num>
                        <m:den>
                          <m:r>
                            <a:rPr lang="ru-RU" i="1">
                              <a:latin typeface="Cambria Math"/>
                            </a:rPr>
                            <m:t>𝑁</m:t>
                          </m:r>
                        </m:den>
                      </m:f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10" name="Прямоугольник 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17076" y="6073424"/>
                <a:ext cx="1327608" cy="610936"/>
              </a:xfrm>
              <a:prstGeom prst="rect">
                <a:avLst/>
              </a:prstGeom>
              <a:blipFill rotWithShape="1"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Прямоугольник 10"/>
          <p:cNvSpPr/>
          <p:nvPr/>
        </p:nvSpPr>
        <p:spPr>
          <a:xfrm>
            <a:off x="1633186" y="6231956"/>
            <a:ext cx="329840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latin typeface="Arial" charset="0"/>
                <a:cs typeface="Arial" charset="0"/>
              </a:rPr>
              <a:t>Средняя степень узлов сети:</a:t>
            </a:r>
            <a:endParaRPr lang="ru-RU" dirty="0"/>
          </a:p>
        </p:txBody>
      </p:sp>
      <p:sp>
        <p:nvSpPr>
          <p:cNvPr id="17" name="Прямоугольник 16"/>
          <p:cNvSpPr/>
          <p:nvPr/>
        </p:nvSpPr>
        <p:spPr>
          <a:xfrm>
            <a:off x="6244684" y="6194226"/>
            <a:ext cx="13516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latin typeface="Arial" charset="0"/>
                <a:cs typeface="Arial" charset="0"/>
              </a:rPr>
              <a:t>=16/6=2,67</a:t>
            </a:r>
            <a:endParaRPr lang="ru-R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Прямоугольник 6"/>
              <p:cNvSpPr/>
              <p:nvPr/>
            </p:nvSpPr>
            <p:spPr>
              <a:xfrm>
                <a:off x="4572000" y="3068960"/>
                <a:ext cx="1526315" cy="42479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sz="2000" b="0" i="0" smtClean="0">
                          <a:latin typeface="Cambria Math"/>
                        </a:rPr>
                        <m:t>A</m:t>
                      </m:r>
                      <m:r>
                        <a:rPr lang="en-US" sz="2000" b="0" i="1" smtClean="0">
                          <a:latin typeface="Cambria Math"/>
                        </a:rPr>
                        <m:t>=(</m:t>
                      </m:r>
                      <m:sSub>
                        <m:sSubPr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latin typeface="Cambria Math"/>
                            </a:rPr>
                            <m:t>𝑎</m:t>
                          </m:r>
                        </m:e>
                        <m:sub>
                          <m:r>
                            <a:rPr lang="en-US" sz="2000" b="0" i="1" smtClean="0">
                              <a:latin typeface="Cambria Math"/>
                            </a:rPr>
                            <m:t>𝑖𝑗</m:t>
                          </m:r>
                        </m:sub>
                      </m:sSub>
                      <m:r>
                        <a:rPr lang="en-US" sz="2000" b="0" i="1" smtClean="0">
                          <a:latin typeface="Cambria Math"/>
                        </a:rPr>
                        <m:t>)</m:t>
                      </m:r>
                      <m:r>
                        <a:rPr lang="ru-RU" sz="2000" i="1">
                          <a:latin typeface="Cambria Math"/>
                        </a:rPr>
                        <m:t>=</m:t>
                      </m:r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7" name="Прямоугольник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72000" y="3068960"/>
                <a:ext cx="1526315" cy="424796"/>
              </a:xfrm>
              <a:prstGeom prst="rect">
                <a:avLst/>
              </a:prstGeom>
              <a:blipFill rotWithShape="1">
                <a:blip r:embed="rId6"/>
                <a:stretch>
                  <a:fillRect b="-8571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5365292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730175" y="296571"/>
            <a:ext cx="874353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  <a:latin typeface="Arial Narrow" panose="020B0606020202030204" pitchFamily="34" charset="0"/>
              </a:rPr>
              <a:t>ВИДЫ СЕТЕЙ</a:t>
            </a: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02" y="1309410"/>
            <a:ext cx="2304322" cy="22041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4781" y="1278617"/>
            <a:ext cx="2724150" cy="2200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0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034" y="4175844"/>
            <a:ext cx="2628900" cy="2362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1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0506" y="4256806"/>
            <a:ext cx="2638425" cy="2200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336477" y="709245"/>
            <a:ext cx="309251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>
                <a:solidFill>
                  <a:schemeClr val="accent1"/>
                </a:solidFill>
                <a:latin typeface="Arial Narrow" panose="020B0606020202030204" pitchFamily="34" charset="0"/>
              </a:rPr>
              <a:t>Ориентированная сеть</a:t>
            </a:r>
            <a:endParaRPr lang="ru-RU" sz="2400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488877" y="3687415"/>
            <a:ext cx="236475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>
                <a:solidFill>
                  <a:schemeClr val="accent1"/>
                </a:solidFill>
                <a:latin typeface="Arial Narrow" panose="020B0606020202030204" pitchFamily="34" charset="0"/>
              </a:rPr>
              <a:t>Взвешенная сеть</a:t>
            </a:r>
            <a:endParaRPr lang="ru-RU" sz="2400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3995936" y="732616"/>
            <a:ext cx="501932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>
                <a:solidFill>
                  <a:schemeClr val="accent1"/>
                </a:solidFill>
                <a:latin typeface="Arial Narrow" panose="020B0606020202030204" pitchFamily="34" charset="0"/>
              </a:rPr>
              <a:t>М-а смежности ориентированной сети</a:t>
            </a:r>
            <a:endParaRPr lang="ru-RU" sz="2400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4299810" y="3645024"/>
            <a:ext cx="44486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>
                <a:solidFill>
                  <a:schemeClr val="accent1"/>
                </a:solidFill>
                <a:latin typeface="Arial Narrow" panose="020B0606020202030204" pitchFamily="34" charset="0"/>
              </a:rPr>
              <a:t>М-а смежности взвешенной сети</a:t>
            </a:r>
            <a:endParaRPr lang="ru-RU" sz="2400" dirty="0"/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>
            <a:off x="5474196" y="1425476"/>
            <a:ext cx="2088232" cy="1944216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/>
          <p:nvPr/>
        </p:nvCxnSpPr>
        <p:spPr>
          <a:xfrm>
            <a:off x="5508104" y="4365104"/>
            <a:ext cx="2088232" cy="1944216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666482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1943" y="1381137"/>
            <a:ext cx="2807257" cy="15438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730174" y="288342"/>
            <a:ext cx="874353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  <a:latin typeface="Arial Narrow" panose="020B0606020202030204" pitchFamily="34" charset="0"/>
              </a:rPr>
              <a:t>СТЕПЕНЬ УЗЛОВ И РАССТОЯНИЕ В СЕТИ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5527370" y="734806"/>
            <a:ext cx="2558714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chemeClr val="accent1"/>
                </a:solidFill>
                <a:latin typeface="Arial Narrow" panose="020B0606020202030204" pitchFamily="34" charset="0"/>
              </a:rPr>
              <a:t>Распределение степеней</a:t>
            </a:r>
          </a:p>
          <a:p>
            <a:r>
              <a:rPr lang="ru-RU" b="1" dirty="0">
                <a:solidFill>
                  <a:schemeClr val="accent1"/>
                </a:solidFill>
                <a:latin typeface="Arial Narrow" panose="020B0606020202030204" pitchFamily="34" charset="0"/>
              </a:rPr>
              <a:t>вершин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494" y="687956"/>
            <a:ext cx="2771800" cy="19489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8" name="Прямоугольник 16"/>
              <p:cNvSpPr>
                <a:spLocks noChangeArrowheads="1"/>
              </p:cNvSpPr>
              <p:nvPr/>
            </p:nvSpPr>
            <p:spPr bwMode="auto">
              <a:xfrm>
                <a:off x="251520" y="2302272"/>
                <a:ext cx="8571293" cy="463614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lnSpc>
                    <a:spcPct val="90000"/>
                  </a:lnSpc>
                  <a:spcBef>
                    <a:spcPct val="20000"/>
                  </a:spcBef>
                  <a:buClr>
                    <a:schemeClr val="tx2"/>
                  </a:buClr>
                  <a:buSzPct val="75000"/>
                  <a:buFont typeface="Wingdings" pitchFamily="2" charset="2"/>
                  <a:buChar char="l"/>
                  <a:defRPr sz="3200">
                    <a:solidFill>
                      <a:schemeClr val="tx1"/>
                    </a:solidFill>
                    <a:latin typeface="Times New Roman" pitchFamily="18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chemeClr val="tx1"/>
                  </a:buClr>
                  <a:buChar char="–"/>
                  <a:defRPr sz="2800">
                    <a:solidFill>
                      <a:schemeClr val="tx1"/>
                    </a:solidFill>
                    <a:latin typeface="Times New Roman" pitchFamily="18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rgbClr val="00CCFF"/>
                  </a:buClr>
                  <a:buSzPct val="65000"/>
                  <a:buFont typeface="Wingdings" pitchFamily="2" charset="2"/>
                  <a:buChar char="l"/>
                  <a:defRPr sz="2400">
                    <a:solidFill>
                      <a:schemeClr val="tx1"/>
                    </a:solidFill>
                    <a:latin typeface="Times New Roman" pitchFamily="18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chemeClr val="tx1"/>
                  </a:buClr>
                  <a:buChar char="–"/>
                  <a:defRPr sz="2000">
                    <a:solidFill>
                      <a:schemeClr val="tx1"/>
                    </a:solidFill>
                    <a:latin typeface="Times New Roman" pitchFamily="18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chemeClr val="accent1"/>
                  </a:buClr>
                  <a:buChar char="•"/>
                  <a:defRPr sz="2000">
                    <a:solidFill>
                      <a:schemeClr val="tx1"/>
                    </a:solidFill>
                    <a:latin typeface="Times New Roman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 sz="2000">
                    <a:solidFill>
                      <a:schemeClr val="tx1"/>
                    </a:solidFill>
                    <a:latin typeface="Times New Roman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 sz="2000">
                    <a:solidFill>
                      <a:schemeClr val="tx1"/>
                    </a:solidFill>
                    <a:latin typeface="Times New Roman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 sz="2000">
                    <a:solidFill>
                      <a:schemeClr val="tx1"/>
                    </a:solidFill>
                    <a:latin typeface="Times New Roman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Char char="•"/>
                  <a:defRPr sz="2000">
                    <a:solidFill>
                      <a:schemeClr val="tx1"/>
                    </a:solidFill>
                    <a:latin typeface="Times New Roman" pitchFamily="18" charset="0"/>
                  </a:defRPr>
                </a:lvl9pPr>
              </a:lstStyle>
              <a:p>
                <a:pPr>
                  <a:lnSpc>
                    <a:spcPct val="100000"/>
                  </a:lnSpc>
                  <a:spcBef>
                    <a:spcPct val="0"/>
                  </a:spcBef>
                  <a:buClrTx/>
                  <a:buSzTx/>
                  <a:buFontTx/>
                  <a:buNone/>
                </a:pPr>
                <a:endParaRPr lang="ru-RU" altLang="ru-RU" sz="2200" dirty="0">
                  <a:latin typeface="Arial" charset="0"/>
                  <a:cs typeface="Arial" charset="0"/>
                </a:endParaRPr>
              </a:p>
              <a:p>
                <a:pPr marL="342900" indent="-342900">
                  <a:lnSpc>
                    <a:spcPct val="100000"/>
                  </a:lnSpc>
                  <a:spcBef>
                    <a:spcPct val="0"/>
                  </a:spcBef>
                  <a:buClrTx/>
                  <a:buSzTx/>
                  <a:buFontTx/>
                  <a:buChar char="-"/>
                </a:pPr>
                <a:r>
                  <a:rPr lang="ru-RU" altLang="ru-RU" sz="2200" dirty="0">
                    <a:latin typeface="Arial" charset="0"/>
                    <a:cs typeface="Arial" charset="0"/>
                  </a:rPr>
                  <a:t>Степень узла – количество связей у узла (входящая/исходящая степень для ориентированных сетей). Обозначается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ru-RU" sz="2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ru-RU" sz="2400" i="1">
                            <a:latin typeface="Cambria Math"/>
                          </a:rPr>
                          <m:t>𝑘</m:t>
                        </m:r>
                      </m:e>
                      <m:sub>
                        <m:r>
                          <a:rPr lang="ru-RU" sz="2400" i="1">
                            <a:latin typeface="Cambria Math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ru-RU" altLang="ru-RU" sz="2200" dirty="0">
                    <a:latin typeface="Arial" charset="0"/>
                    <a:cs typeface="Arial" charset="0"/>
                  </a:rPr>
                  <a:t> </a:t>
                </a:r>
                <a:r>
                  <a:rPr lang="en-US" altLang="ru-RU" sz="2200" dirty="0">
                    <a:latin typeface="Arial" charset="0"/>
                    <a:cs typeface="Arial" charset="0"/>
                  </a:rPr>
                  <a:t>(</a:t>
                </a:r>
                <a:r>
                  <a:rPr lang="ru-RU" altLang="ru-RU" sz="2200" dirty="0">
                    <a:latin typeface="Arial" charset="0"/>
                    <a:cs typeface="Arial" charset="0"/>
                  </a:rPr>
                  <a:t>для </a:t>
                </a:r>
                <a:r>
                  <a:rPr lang="en-US" altLang="ru-RU" sz="2200" dirty="0" err="1">
                    <a:latin typeface="Arial" charset="0"/>
                    <a:cs typeface="Arial" charset="0"/>
                  </a:rPr>
                  <a:t>i</a:t>
                </a:r>
                <a:r>
                  <a:rPr lang="en-US" altLang="ru-RU" sz="2200" dirty="0">
                    <a:latin typeface="Arial" charset="0"/>
                    <a:cs typeface="Arial" charset="0"/>
                  </a:rPr>
                  <a:t>-</a:t>
                </a:r>
                <a:r>
                  <a:rPr lang="ru-RU" altLang="ru-RU" sz="2200" dirty="0" err="1">
                    <a:latin typeface="Arial" charset="0"/>
                    <a:cs typeface="Arial" charset="0"/>
                  </a:rPr>
                  <a:t>го</a:t>
                </a:r>
                <a:r>
                  <a:rPr lang="ru-RU" altLang="ru-RU" sz="2200" dirty="0">
                    <a:latin typeface="Arial" charset="0"/>
                    <a:cs typeface="Arial" charset="0"/>
                  </a:rPr>
                  <a:t> узла), например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ru-RU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ru-RU" sz="2000" i="1">
                            <a:latin typeface="Cambria Math"/>
                          </a:rPr>
                          <m:t>𝑘</m:t>
                        </m:r>
                      </m:e>
                      <m:sub>
                        <m:r>
                          <a:rPr lang="ru-RU" sz="2000" b="0" i="1" smtClean="0">
                            <a:latin typeface="Cambria Math"/>
                          </a:rPr>
                          <m:t>5</m:t>
                        </m:r>
                      </m:sub>
                    </m:sSub>
                    <m:r>
                      <a:rPr lang="ru-RU" sz="2000" b="0" i="1" smtClean="0">
                        <a:latin typeface="Cambria Math"/>
                      </a:rPr>
                      <m:t>=4</m:t>
                    </m:r>
                  </m:oMath>
                </a14:m>
                <a:r>
                  <a:rPr lang="ru-RU" altLang="ru-RU" sz="2200" dirty="0">
                    <a:latin typeface="Arial" charset="0"/>
                    <a:cs typeface="Arial" charset="0"/>
                  </a:rPr>
                  <a:t>.</a:t>
                </a:r>
                <a:endParaRPr lang="en-US" altLang="ru-RU" sz="2200" dirty="0">
                  <a:latin typeface="Arial" charset="0"/>
                  <a:cs typeface="Arial" charset="0"/>
                </a:endParaRPr>
              </a:p>
              <a:p>
                <a:pPr marL="342900" indent="-342900">
                  <a:lnSpc>
                    <a:spcPct val="100000"/>
                  </a:lnSpc>
                  <a:spcBef>
                    <a:spcPct val="0"/>
                  </a:spcBef>
                  <a:buClrTx/>
                  <a:buSzTx/>
                  <a:buFontTx/>
                  <a:buChar char="-"/>
                </a:pPr>
                <a:r>
                  <a:rPr lang="ru-RU" sz="2400" dirty="0">
                    <a:latin typeface="Arial" charset="0"/>
                    <a:cs typeface="Arial" charset="0"/>
                  </a:rPr>
                  <a:t>Средняя степень узлов сети:</a:t>
                </a:r>
                <a:r>
                  <a:rPr lang="en-US" sz="2400" dirty="0">
                    <a:latin typeface="Arial" charset="0"/>
                    <a:cs typeface="Arial" charset="0"/>
                  </a:rPr>
                  <a:t> </a:t>
                </a:r>
                <a14:m>
                  <m:oMath xmlns:m="http://schemas.openxmlformats.org/officeDocument/2006/math">
                    <m:r>
                      <a:rPr lang="ru-RU" sz="2400" i="1">
                        <a:latin typeface="Cambria Math"/>
                      </a:rPr>
                      <m:t>&lt;</m:t>
                    </m:r>
                    <m:r>
                      <a:rPr lang="ru-RU" sz="2400" i="1">
                        <a:latin typeface="Cambria Math"/>
                      </a:rPr>
                      <m:t>𝑘</m:t>
                    </m:r>
                    <m:r>
                      <a:rPr lang="ru-RU" sz="2400" i="1">
                        <a:latin typeface="Cambria Math"/>
                      </a:rPr>
                      <m:t>&gt;=</m:t>
                    </m:r>
                    <m:f>
                      <m:fPr>
                        <m:ctrlPr>
                          <a:rPr lang="ru-RU" sz="2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ru-RU" sz="2400" i="1">
                            <a:latin typeface="Cambria Math"/>
                          </a:rPr>
                          <m:t>2</m:t>
                        </m:r>
                        <m:r>
                          <a:rPr lang="ru-RU" sz="2400" i="1">
                            <a:latin typeface="Cambria Math"/>
                          </a:rPr>
                          <m:t>𝐿</m:t>
                        </m:r>
                      </m:num>
                      <m:den>
                        <m:r>
                          <a:rPr lang="ru-RU" sz="2400" i="1">
                            <a:latin typeface="Cambria Math"/>
                          </a:rPr>
                          <m:t>𝑁</m:t>
                        </m:r>
                      </m:den>
                    </m:f>
                  </m:oMath>
                </a14:m>
                <a:r>
                  <a:rPr lang="ru-RU" sz="2400" dirty="0">
                    <a:latin typeface="Arial" charset="0"/>
                    <a:cs typeface="Arial" charset="0"/>
                  </a:rPr>
                  <a:t>=16/6=2,67</a:t>
                </a:r>
                <a:endParaRPr lang="ru-RU" altLang="ru-RU" sz="2200" dirty="0">
                  <a:latin typeface="Arial" charset="0"/>
                  <a:cs typeface="Arial" charset="0"/>
                </a:endParaRPr>
              </a:p>
              <a:p>
                <a:pPr marL="342900" indent="-342900">
                  <a:lnSpc>
                    <a:spcPct val="100000"/>
                  </a:lnSpc>
                  <a:spcBef>
                    <a:spcPct val="0"/>
                  </a:spcBef>
                  <a:buClrTx/>
                  <a:buSzTx/>
                  <a:buFontTx/>
                  <a:buChar char="-"/>
                </a:pPr>
                <a:r>
                  <a:rPr lang="ru-RU" altLang="ru-RU" sz="2200" dirty="0">
                    <a:latin typeface="Arial" charset="0"/>
                    <a:cs typeface="Arial" charset="0"/>
                  </a:rPr>
                  <a:t>Расстояние от одного узла до другого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ru-RU" sz="2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ru-RU" sz="2400" i="1">
                            <a:latin typeface="Cambria Math"/>
                          </a:rPr>
                          <m:t>𝑙</m:t>
                        </m:r>
                      </m:e>
                      <m:sub>
                        <m:r>
                          <a:rPr lang="ru-RU" sz="2400" i="1">
                            <a:latin typeface="Cambria Math"/>
                          </a:rPr>
                          <m:t>𝑖𝑗</m:t>
                        </m:r>
                      </m:sub>
                    </m:sSub>
                  </m:oMath>
                </a14:m>
                <a:r>
                  <a:rPr lang="ru-RU" sz="2400" dirty="0"/>
                  <a:t>  </a:t>
                </a:r>
                <a:r>
                  <a:rPr lang="en-US" sz="2400" dirty="0"/>
                  <a:t>(</a:t>
                </a:r>
                <a:r>
                  <a:rPr lang="ru-RU" sz="2400" dirty="0"/>
                  <a:t>от </a:t>
                </a:r>
                <a:r>
                  <a:rPr lang="en-US" sz="2400" i="1" dirty="0" err="1"/>
                  <a:t>i</a:t>
                </a:r>
                <a:r>
                  <a:rPr lang="en-US" sz="2400" dirty="0"/>
                  <a:t>-</a:t>
                </a:r>
                <a:r>
                  <a:rPr lang="ru-RU" sz="2400" dirty="0" err="1"/>
                  <a:t>го</a:t>
                </a:r>
                <a:r>
                  <a:rPr lang="ru-RU" sz="2400" dirty="0"/>
                  <a:t> до </a:t>
                </a:r>
                <a:r>
                  <a:rPr lang="en-US" sz="2400" i="1" dirty="0"/>
                  <a:t>j</a:t>
                </a:r>
                <a:r>
                  <a:rPr lang="en-US" sz="2400" dirty="0"/>
                  <a:t>-</a:t>
                </a:r>
                <a:r>
                  <a:rPr lang="ru-RU" sz="2400" dirty="0" err="1"/>
                  <a:t>го</a:t>
                </a:r>
                <a:r>
                  <a:rPr lang="ru-RU" sz="2400" dirty="0"/>
                  <a:t>) – кратчайший путь между узлами </a:t>
                </a:r>
                <a:r>
                  <a:rPr lang="en-US" sz="2400" i="1" dirty="0" err="1"/>
                  <a:t>i</a:t>
                </a:r>
                <a:r>
                  <a:rPr lang="ru-RU" sz="2400" dirty="0"/>
                  <a:t> и </a:t>
                </a:r>
                <a:r>
                  <a:rPr lang="en-US" sz="2400" i="1" dirty="0"/>
                  <a:t>j</a:t>
                </a:r>
                <a:r>
                  <a:rPr lang="en-US" sz="2400" dirty="0"/>
                  <a:t>. </a:t>
                </a:r>
                <a:r>
                  <a:rPr lang="ru-RU" sz="2400" dirty="0"/>
                  <a:t>Пример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ru-RU" sz="2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ru-RU" sz="2400" i="1">
                            <a:latin typeface="Cambria Math"/>
                          </a:rPr>
                          <m:t>𝑙</m:t>
                        </m:r>
                      </m:e>
                      <m:sub>
                        <m:r>
                          <a:rPr lang="en-US" sz="2400" b="0" i="1" smtClean="0">
                            <a:latin typeface="Cambria Math"/>
                          </a:rPr>
                          <m:t>6 3</m:t>
                        </m:r>
                      </m:sub>
                    </m:sSub>
                    <m:r>
                      <a:rPr lang="en-US" sz="2400" b="0" i="1" smtClean="0">
                        <a:latin typeface="Cambria Math"/>
                      </a:rPr>
                      <m:t>=3</m:t>
                    </m:r>
                  </m:oMath>
                </a14:m>
                <a:r>
                  <a:rPr lang="ru-RU" sz="2400" dirty="0"/>
                  <a:t> </a:t>
                </a:r>
                <a:endParaRPr lang="en-US" sz="2400" dirty="0"/>
              </a:p>
              <a:p>
                <a:pPr marL="342900" indent="-342900">
                  <a:lnSpc>
                    <a:spcPct val="100000"/>
                  </a:lnSpc>
                  <a:spcBef>
                    <a:spcPct val="0"/>
                  </a:spcBef>
                  <a:buClrTx/>
                  <a:buSzTx/>
                  <a:buFontTx/>
                  <a:buChar char="-"/>
                </a:pPr>
                <a14:m>
                  <m:oMath xmlns:m="http://schemas.openxmlformats.org/officeDocument/2006/math">
                    <m:r>
                      <a:rPr lang="ru-RU" sz="2400" i="1">
                        <a:latin typeface="Cambria Math"/>
                      </a:rPr>
                      <m:t>&lt;</m:t>
                    </m:r>
                    <m:r>
                      <a:rPr lang="ru-RU" sz="2400" i="1">
                        <a:latin typeface="Cambria Math"/>
                      </a:rPr>
                      <m:t>𝑙</m:t>
                    </m:r>
                    <m:r>
                      <a:rPr lang="ru-RU" sz="2400" i="1">
                        <a:latin typeface="Cambria Math"/>
                      </a:rPr>
                      <m:t>&gt;</m:t>
                    </m:r>
                  </m:oMath>
                </a14:m>
                <a:r>
                  <a:rPr lang="ru-RU" sz="2400" dirty="0"/>
                  <a:t> есть среднее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ru-RU" sz="2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ru-RU" sz="2400" i="1">
                            <a:latin typeface="Cambria Math"/>
                          </a:rPr>
                          <m:t>𝑙</m:t>
                        </m:r>
                      </m:e>
                      <m:sub>
                        <m:r>
                          <a:rPr lang="ru-RU" sz="2400" i="1">
                            <a:latin typeface="Cambria Math"/>
                          </a:rPr>
                          <m:t>𝑖𝑗</m:t>
                        </m:r>
                      </m:sub>
                    </m:sSub>
                  </m:oMath>
                </a14:m>
                <a:r>
                  <a:rPr lang="ru-RU" sz="2400" dirty="0"/>
                  <a:t> по всем парам узлов. Для несвязных сетей рассчитывается эффективность:</a:t>
                </a:r>
              </a:p>
              <a:p>
                <a:pPr>
                  <a:lnSpc>
                    <a:spcPct val="100000"/>
                  </a:lnSpc>
                  <a:spcBef>
                    <a:spcPct val="0"/>
                  </a:spcBef>
                  <a:buClrTx/>
                  <a:buSzTx/>
                  <a:buNone/>
                </a:pPr>
                <a:r>
                  <a:rPr lang="ru-RU" sz="2400" dirty="0">
                    <a:solidFill>
                      <a:srgbClr val="FF0000"/>
                    </a:solidFill>
                  </a:rPr>
                  <a:t> </a:t>
                </a:r>
                <a:endParaRPr lang="en-US" sz="2400" dirty="0">
                  <a:solidFill>
                    <a:srgbClr val="FF0000"/>
                  </a:solidFill>
                </a:endParaRPr>
              </a:p>
              <a:p>
                <a:pPr marL="342900" indent="-342900">
                  <a:lnSpc>
                    <a:spcPct val="100000"/>
                  </a:lnSpc>
                  <a:spcBef>
                    <a:spcPct val="0"/>
                  </a:spcBef>
                  <a:buClrTx/>
                  <a:buSzTx/>
                  <a:buFontTx/>
                  <a:buChar char="-"/>
                </a:pPr>
                <a:r>
                  <a:rPr lang="ru-RU" sz="2400" dirty="0"/>
                  <a:t>Диаметр сети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ru-RU" sz="2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400" i="1">
                            <a:latin typeface="Cambria Math"/>
                          </a:rPr>
                          <m:t>𝑙</m:t>
                        </m:r>
                      </m:e>
                      <m:sub>
                        <m:r>
                          <a:rPr lang="ru-RU" sz="2400" i="1">
                            <a:latin typeface="Cambria Math"/>
                          </a:rPr>
                          <m:t>𝐷</m:t>
                        </m:r>
                      </m:sub>
                    </m:sSub>
                  </m:oMath>
                </a14:m>
                <a:r>
                  <a:rPr lang="ru-RU" sz="2400" dirty="0"/>
                  <a:t> есть максимальное расстояние между узлами сети. Пример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ru-RU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i="1">
                            <a:latin typeface="Cambria Math"/>
                          </a:rPr>
                          <m:t>𝑙</m:t>
                        </m:r>
                      </m:e>
                      <m:sub>
                        <m:r>
                          <a:rPr lang="ru-RU" sz="2000" i="1">
                            <a:latin typeface="Cambria Math"/>
                          </a:rPr>
                          <m:t>𝐷</m:t>
                        </m:r>
                      </m:sub>
                    </m:sSub>
                  </m:oMath>
                </a14:m>
                <a:r>
                  <a:rPr lang="ru-RU" altLang="ru-RU" sz="2200" dirty="0">
                    <a:latin typeface="Arial" charset="0"/>
                    <a:cs typeface="Arial" charset="0"/>
                  </a:rPr>
                  <a:t>=3..</a:t>
                </a:r>
              </a:p>
            </p:txBody>
          </p:sp>
        </mc:Choice>
        <mc:Fallback>
          <p:sp>
            <p:nvSpPr>
              <p:cNvPr id="8" name="Прямоугольник 1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51520" y="2302272"/>
                <a:ext cx="8571293" cy="4636141"/>
              </a:xfrm>
              <a:prstGeom prst="rect">
                <a:avLst/>
              </a:prstGeom>
              <a:blipFill>
                <a:blip r:embed="rId4"/>
                <a:stretch>
                  <a:fillRect l="-1067" r="-356" b="-2105"/>
                </a:stretch>
              </a:blipFill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2" name="Рисунок 7" descr="ф-2.gif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0572" y="5338215"/>
            <a:ext cx="2520280" cy="8164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2" name="Прямоугольник 1">
                <a:extLst>
                  <a:ext uri="{FF2B5EF4-FFF2-40B4-BE49-F238E27FC236}">
                    <a16:creationId xmlns:a16="http://schemas.microsoft.com/office/drawing/2014/main" id="{59154E5A-C8C1-4AA6-B1AE-FC521FA3D4E5}"/>
                  </a:ext>
                </a:extLst>
              </p:cNvPr>
              <p:cNvSpPr/>
              <p:nvPr/>
            </p:nvSpPr>
            <p:spPr>
              <a:xfrm>
                <a:off x="7469694" y="5732119"/>
                <a:ext cx="495071" cy="42479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sz="2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ru-RU" sz="2000" i="1">
                              <a:solidFill>
                                <a:srgbClr val="FF0000"/>
                              </a:solidFill>
                              <a:latin typeface="Cambria Math"/>
                            </a:rPr>
                            <m:t>𝑙</m:t>
                          </m:r>
                        </m:e>
                        <m:sub>
                          <m:r>
                            <a:rPr lang="en-US" sz="2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𝑖𝑗</m:t>
                          </m:r>
                        </m:sub>
                      </m:sSub>
                    </m:oMath>
                  </m:oMathPara>
                </a14:m>
                <a:endParaRPr lang="ru-RU" dirty="0"/>
              </a:p>
            </p:txBody>
          </p:sp>
        </mc:Choice>
        <mc:Fallback>
          <p:sp>
            <p:nvSpPr>
              <p:cNvPr id="2" name="Прямоугольник 1">
                <a:extLst>
                  <a:ext uri="{FF2B5EF4-FFF2-40B4-BE49-F238E27FC236}">
                    <a16:creationId xmlns:a16="http://schemas.microsoft.com/office/drawing/2014/main" id="{59154E5A-C8C1-4AA6-B1AE-FC521FA3D4E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69694" y="5732119"/>
                <a:ext cx="495071" cy="424796"/>
              </a:xfrm>
              <a:prstGeom prst="rect">
                <a:avLst/>
              </a:prstGeom>
              <a:blipFill>
                <a:blip r:embed="rId6"/>
                <a:stretch>
                  <a:fillRect b="-10000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2551261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730175" y="296571"/>
            <a:ext cx="874353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  <a:latin typeface="Arial Narrow" panose="020B0606020202030204" pitchFamily="34" charset="0"/>
              </a:rPr>
              <a:t>КЛАСТЕРИЗАЦИЯ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Прямоугольник 2"/>
              <p:cNvSpPr/>
              <p:nvPr/>
            </p:nvSpPr>
            <p:spPr>
              <a:xfrm>
                <a:off x="0" y="2351386"/>
                <a:ext cx="9061897" cy="453399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342900" indent="-342900">
                  <a:lnSpc>
                    <a:spcPct val="100000"/>
                  </a:lnSpc>
                  <a:spcBef>
                    <a:spcPct val="0"/>
                  </a:spcBef>
                  <a:buClrTx/>
                  <a:buSzTx/>
                  <a:buFontTx/>
                  <a:buChar char="-"/>
                </a:pPr>
                <a:r>
                  <a:rPr lang="ru-RU" sz="2400" dirty="0">
                    <a:latin typeface="Arial" charset="0"/>
                    <a:cs typeface="Arial" charset="0"/>
                  </a:rPr>
                  <a:t>Коэффициент кластеризации узла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ru-RU" sz="2400" i="1">
                            <a:latin typeface="Cambria Math" panose="02040503050406030204" pitchFamily="18" charset="0"/>
                            <a:cs typeface="Arial" charset="0"/>
                          </a:rPr>
                        </m:ctrlPr>
                      </m:sSubPr>
                      <m:e>
                        <m:r>
                          <a:rPr lang="ru-RU" sz="2400">
                            <a:latin typeface="Cambria Math"/>
                            <a:cs typeface="Arial" charset="0"/>
                          </a:rPr>
                          <m:t>𝑣</m:t>
                        </m:r>
                      </m:e>
                      <m:sub>
                        <m:r>
                          <a:rPr lang="ru-RU" sz="2400">
                            <a:latin typeface="Cambria Math"/>
                            <a:cs typeface="Arial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ru-RU" sz="2400" dirty="0">
                    <a:latin typeface="Arial" charset="0"/>
                    <a:cs typeface="Arial" charset="0"/>
                  </a:rPr>
                  <a:t> равен отношению количества связей между узлами из окрестности узла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ru-RU" sz="2400" i="1">
                            <a:latin typeface="Cambria Math" panose="02040503050406030204" pitchFamily="18" charset="0"/>
                            <a:cs typeface="Arial" charset="0"/>
                          </a:rPr>
                        </m:ctrlPr>
                      </m:sSubPr>
                      <m:e>
                        <m:r>
                          <a:rPr lang="en-US" sz="2400">
                            <a:latin typeface="Cambria Math"/>
                            <a:cs typeface="Arial" charset="0"/>
                          </a:rPr>
                          <m:t>𝛤</m:t>
                        </m:r>
                      </m:e>
                      <m:sub>
                        <m:r>
                          <a:rPr lang="ru-RU" sz="2400">
                            <a:latin typeface="Cambria Math"/>
                            <a:cs typeface="Arial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ru-RU" sz="2400" dirty="0">
                    <a:latin typeface="Arial" charset="0"/>
                    <a:cs typeface="Arial" charset="0"/>
                  </a:rPr>
                  <a:t> к максимально возможному количеству связей в окрестности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ru-RU" sz="2400" i="1">
                            <a:latin typeface="Cambria Math" panose="02040503050406030204" pitchFamily="18" charset="0"/>
                            <a:cs typeface="Arial" charset="0"/>
                          </a:rPr>
                        </m:ctrlPr>
                      </m:sSubPr>
                      <m:e>
                        <m:r>
                          <a:rPr lang="en-US" sz="2400">
                            <a:latin typeface="Cambria Math"/>
                            <a:cs typeface="Arial" charset="0"/>
                          </a:rPr>
                          <m:t>𝐶</m:t>
                        </m:r>
                      </m:e>
                      <m:sub>
                        <m:r>
                          <a:rPr lang="ru-RU" sz="2400">
                            <a:latin typeface="Cambria Math"/>
                            <a:cs typeface="Arial" charset="0"/>
                          </a:rPr>
                          <m:t>𝑖</m:t>
                        </m:r>
                      </m:sub>
                    </m:sSub>
                    <m:r>
                      <a:rPr lang="ru-RU" sz="2400">
                        <a:latin typeface="Cambria Math"/>
                        <a:cs typeface="Arial" charset="0"/>
                      </a:rPr>
                      <m:t>=</m:t>
                    </m:r>
                    <m:f>
                      <m:fPr>
                        <m:ctrlPr>
                          <a:rPr lang="ru-RU" sz="2400" i="1">
                            <a:latin typeface="Cambria Math" panose="02040503050406030204" pitchFamily="18" charset="0"/>
                            <a:cs typeface="Arial" charset="0"/>
                          </a:rPr>
                        </m:ctrlPr>
                      </m:fPr>
                      <m:num>
                        <m:r>
                          <a:rPr lang="en-US" sz="2400">
                            <a:latin typeface="Cambria Math"/>
                            <a:cs typeface="Arial" charset="0"/>
                          </a:rPr>
                          <m:t>𝐸</m:t>
                        </m:r>
                        <m:r>
                          <a:rPr lang="ru-RU" sz="2400">
                            <a:latin typeface="Cambria Math"/>
                            <a:cs typeface="Arial" charset="0"/>
                          </a:rPr>
                          <m:t>(</m:t>
                        </m:r>
                        <m:sSub>
                          <m:sSubPr>
                            <m:ctrlPr>
                              <a:rPr lang="ru-RU" sz="2400" i="1">
                                <a:latin typeface="Cambria Math" panose="02040503050406030204" pitchFamily="18" charset="0"/>
                                <a:cs typeface="Arial" charset="0"/>
                              </a:rPr>
                            </m:ctrlPr>
                          </m:sSubPr>
                          <m:e>
                            <m:r>
                              <a:rPr lang="en-US" sz="2400">
                                <a:latin typeface="Cambria Math"/>
                                <a:cs typeface="Arial" charset="0"/>
                              </a:rPr>
                              <m:t>𝛤</m:t>
                            </m:r>
                          </m:e>
                          <m:sub>
                            <m:r>
                              <a:rPr lang="ru-RU" sz="2400">
                                <a:latin typeface="Cambria Math"/>
                                <a:cs typeface="Arial" charset="0"/>
                              </a:rPr>
                              <m:t>𝑖</m:t>
                            </m:r>
                          </m:sub>
                        </m:sSub>
                        <m:r>
                          <a:rPr lang="ru-RU" sz="2400">
                            <a:latin typeface="Cambria Math"/>
                            <a:cs typeface="Arial" charset="0"/>
                          </a:rPr>
                          <m:t>)</m:t>
                        </m:r>
                      </m:num>
                      <m:den>
                        <m:sSub>
                          <m:sSubPr>
                            <m:ctrlPr>
                              <a:rPr lang="ru-RU" sz="2400" i="1">
                                <a:latin typeface="Cambria Math" panose="02040503050406030204" pitchFamily="18" charset="0"/>
                                <a:cs typeface="Arial" charset="0"/>
                              </a:rPr>
                            </m:ctrlPr>
                          </m:sSubPr>
                          <m:e>
                            <m:r>
                              <a:rPr lang="en-US" sz="2400">
                                <a:latin typeface="Cambria Math"/>
                                <a:cs typeface="Arial" charset="0"/>
                              </a:rPr>
                              <m:t>𝑘</m:t>
                            </m:r>
                          </m:e>
                          <m:sub>
                            <m:r>
                              <a:rPr lang="ru-RU" sz="2400">
                                <a:latin typeface="Cambria Math"/>
                                <a:cs typeface="Arial" charset="0"/>
                              </a:rPr>
                              <m:t>𝑖</m:t>
                            </m:r>
                          </m:sub>
                        </m:sSub>
                        <m:d>
                          <m:dPr>
                            <m:ctrlPr>
                              <a:rPr lang="ru-RU" sz="2400" i="1">
                                <a:latin typeface="Cambria Math" panose="02040503050406030204" pitchFamily="18" charset="0"/>
                                <a:cs typeface="Arial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ru-RU" sz="2400" i="1">
                                    <a:latin typeface="Cambria Math" panose="02040503050406030204" pitchFamily="18" charset="0"/>
                                    <a:cs typeface="Arial" charset="0"/>
                                  </a:rPr>
                                </m:ctrlPr>
                              </m:sSubPr>
                              <m:e>
                                <m:r>
                                  <a:rPr lang="en-US" sz="2400">
                                    <a:latin typeface="Cambria Math"/>
                                    <a:cs typeface="Arial" charset="0"/>
                                  </a:rPr>
                                  <m:t>𝑘</m:t>
                                </m:r>
                              </m:e>
                              <m:sub>
                                <m:r>
                                  <a:rPr lang="ru-RU" sz="2400">
                                    <a:latin typeface="Cambria Math"/>
                                    <a:cs typeface="Arial" charset="0"/>
                                  </a:rPr>
                                  <m:t>𝑖</m:t>
                                </m:r>
                              </m:sub>
                            </m:sSub>
                            <m:r>
                              <a:rPr lang="ru-RU" sz="2400">
                                <a:latin typeface="Cambria Math"/>
                                <a:cs typeface="Arial" charset="0"/>
                              </a:rPr>
                              <m:t>−1</m:t>
                            </m:r>
                          </m:e>
                        </m:d>
                        <m:r>
                          <a:rPr lang="ru-RU" sz="2400">
                            <a:latin typeface="Cambria Math"/>
                            <a:cs typeface="Arial" charset="0"/>
                          </a:rPr>
                          <m:t>/2</m:t>
                        </m:r>
                      </m:den>
                    </m:f>
                  </m:oMath>
                </a14:m>
                <a:r>
                  <a:rPr lang="ru-RU" sz="2400" dirty="0">
                    <a:latin typeface="Arial" charset="0"/>
                    <a:cs typeface="Arial" charset="0"/>
                  </a:rPr>
                  <a:t>.</a:t>
                </a:r>
              </a:p>
              <a:p>
                <a:pPr marL="342900" indent="-342900">
                  <a:lnSpc>
                    <a:spcPct val="100000"/>
                  </a:lnSpc>
                  <a:spcBef>
                    <a:spcPct val="0"/>
                  </a:spcBef>
                  <a:buClrTx/>
                  <a:buSzTx/>
                  <a:buFontTx/>
                  <a:buChar char="-"/>
                </a:pPr>
                <a:r>
                  <a:rPr lang="ru-RU" sz="2400" dirty="0">
                    <a:latin typeface="Arial" charset="0"/>
                    <a:cs typeface="Arial" charset="0"/>
                  </a:rPr>
                  <a:t>На основе коэффициента кластеризации узла рассчитывается интегральная характеристика сети, средний коэффициент кластеризации </a:t>
                </a:r>
                <a14:m>
                  <m:oMath xmlns:m="http://schemas.openxmlformats.org/officeDocument/2006/math">
                    <m:r>
                      <a:rPr lang="ru-RU" sz="2400">
                        <a:latin typeface="Cambria Math"/>
                        <a:cs typeface="Arial" charset="0"/>
                      </a:rPr>
                      <m:t>&lt;</m:t>
                    </m:r>
                    <m:r>
                      <a:rPr lang="ru-RU" sz="2400">
                        <a:latin typeface="Cambria Math"/>
                        <a:cs typeface="Arial" charset="0"/>
                      </a:rPr>
                      <m:t>𝐶</m:t>
                    </m:r>
                    <m:r>
                      <a:rPr lang="ru-RU" sz="2400">
                        <a:latin typeface="Cambria Math"/>
                        <a:cs typeface="Arial" charset="0"/>
                      </a:rPr>
                      <m:t>&gt;=</m:t>
                    </m:r>
                    <m:f>
                      <m:fPr>
                        <m:ctrlPr>
                          <a:rPr lang="ru-RU" sz="2400" i="1">
                            <a:latin typeface="Cambria Math" panose="02040503050406030204" pitchFamily="18" charset="0"/>
                            <a:cs typeface="Arial" charset="0"/>
                          </a:rPr>
                        </m:ctrlPr>
                      </m:fPr>
                      <m:num>
                        <m:r>
                          <a:rPr lang="ru-RU" sz="2400">
                            <a:latin typeface="Cambria Math"/>
                            <a:cs typeface="Arial" charset="0"/>
                          </a:rPr>
                          <m:t>1</m:t>
                        </m:r>
                      </m:num>
                      <m:den>
                        <m:r>
                          <a:rPr lang="en-US" sz="2400">
                            <a:latin typeface="Cambria Math"/>
                            <a:cs typeface="Arial" charset="0"/>
                          </a:rPr>
                          <m:t>𝑁</m:t>
                        </m:r>
                      </m:den>
                    </m:f>
                    <m:r>
                      <a:rPr lang="ru-RU" sz="2400">
                        <a:latin typeface="Cambria Math"/>
                        <a:cs typeface="Arial" charset="0"/>
                      </a:rPr>
                      <m:t> </m:t>
                    </m:r>
                    <m:nary>
                      <m:naryPr>
                        <m:chr m:val="∑"/>
                        <m:grow m:val="on"/>
                        <m:ctrlPr>
                          <a:rPr lang="ru-RU" sz="2400" i="1">
                            <a:latin typeface="Cambria Math" panose="02040503050406030204" pitchFamily="18" charset="0"/>
                            <a:cs typeface="Arial" charset="0"/>
                          </a:rPr>
                        </m:ctrlPr>
                      </m:naryPr>
                      <m:sub>
                        <m:r>
                          <a:rPr lang="ru-RU" sz="2400">
                            <a:latin typeface="Cambria Math"/>
                            <a:cs typeface="Arial" charset="0"/>
                          </a:rPr>
                          <m:t>𝑖</m:t>
                        </m:r>
                      </m:sub>
                      <m:sup/>
                      <m:e>
                        <m:sSub>
                          <m:sSubPr>
                            <m:ctrlPr>
                              <a:rPr lang="ru-RU" sz="2400" i="1">
                                <a:latin typeface="Cambria Math" panose="02040503050406030204" pitchFamily="18" charset="0"/>
                                <a:cs typeface="Arial" charset="0"/>
                              </a:rPr>
                            </m:ctrlPr>
                          </m:sSubPr>
                          <m:e>
                            <m:r>
                              <a:rPr lang="en-US" sz="2400">
                                <a:latin typeface="Cambria Math"/>
                                <a:cs typeface="Arial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ru-RU" sz="2400">
                                <a:latin typeface="Cambria Math"/>
                                <a:cs typeface="Arial" charset="0"/>
                              </a:rPr>
                              <m:t>𝑖</m:t>
                            </m:r>
                          </m:sub>
                        </m:sSub>
                      </m:e>
                    </m:nary>
                  </m:oMath>
                </a14:m>
                <a:r>
                  <a:rPr lang="ru-RU" sz="2400" dirty="0">
                    <a:latin typeface="Arial" charset="0"/>
                    <a:cs typeface="Arial" charset="0"/>
                  </a:rPr>
                  <a:t>. </a:t>
                </a:r>
              </a:p>
              <a:p>
                <a:pPr marL="342900" indent="-342900">
                  <a:lnSpc>
                    <a:spcPct val="100000"/>
                  </a:lnSpc>
                  <a:spcBef>
                    <a:spcPct val="0"/>
                  </a:spcBef>
                  <a:buClrTx/>
                  <a:buSzTx/>
                  <a:buFontTx/>
                  <a:buChar char="-"/>
                </a:pPr>
                <a:r>
                  <a:rPr lang="ru-RU" sz="2400" dirty="0">
                    <a:latin typeface="Arial" charset="0"/>
                    <a:cs typeface="Arial" charset="0"/>
                  </a:rPr>
                  <a:t>В большинстве реальных сложных сетей вероятность связи между двумя узлами, связанными с общим соседом (образование клик), существенно выше, чем вероятность связи между двумя случайно выбранными узлами.</a:t>
                </a:r>
              </a:p>
            </p:txBody>
          </p:sp>
        </mc:Choice>
        <mc:Fallback xmlns="">
          <p:sp>
            <p:nvSpPr>
              <p:cNvPr id="3" name="Прямоугольник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2351386"/>
                <a:ext cx="9061897" cy="4533998"/>
              </a:xfrm>
              <a:prstGeom prst="rect">
                <a:avLst/>
              </a:prstGeom>
              <a:blipFill rotWithShape="1">
                <a:blip r:embed="rId2"/>
                <a:stretch>
                  <a:fillRect l="-874" t="-942" b="-2153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7744" y="696681"/>
            <a:ext cx="3602468" cy="15146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141799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39552" y="296571"/>
            <a:ext cx="773025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  <a:latin typeface="Arial Narrow" panose="020B0606020202030204" pitchFamily="34" charset="0"/>
              </a:rPr>
              <a:t>ОСНОВНЫЕ СВОЙСТВА СЕТЕЙ</a:t>
            </a:r>
          </a:p>
        </p:txBody>
      </p:sp>
      <p:pic>
        <p:nvPicPr>
          <p:cNvPr id="6" name="Picture 6" descr="http://www.mathaware.org/mam/04/essays/barrett.table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2990" y="2056822"/>
            <a:ext cx="3217841" cy="4000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8" descr="http://www.frontiersin.org/files/Articles/8762/fncom-05-00005-HTML/image_m/fncom-05-00005-g00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340768"/>
            <a:ext cx="5671143" cy="5328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852909" y="2184822"/>
            <a:ext cx="127470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600" b="1" dirty="0">
                <a:solidFill>
                  <a:srgbClr val="3888CA"/>
                </a:solidFill>
                <a:latin typeface="Arial Narrow" panose="020B0606020202030204" pitchFamily="34" charset="0"/>
              </a:rPr>
              <a:t>степень узла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250164" y="2204864"/>
            <a:ext cx="264367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600" b="1" dirty="0">
                <a:solidFill>
                  <a:srgbClr val="3888CA"/>
                </a:solidFill>
                <a:latin typeface="Arial Narrow" panose="020B0606020202030204" pitchFamily="34" charset="0"/>
              </a:rPr>
              <a:t>коэффициент кластеризации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00472" y="3819520"/>
            <a:ext cx="8531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600" b="1" dirty="0">
                <a:solidFill>
                  <a:srgbClr val="3888CA"/>
                </a:solidFill>
                <a:latin typeface="Arial Narrow" panose="020B0606020202030204" pitchFamily="34" charset="0"/>
              </a:rPr>
              <a:t>мотивы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579438" y="3835934"/>
            <a:ext cx="223170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600" b="1" dirty="0">
                <a:solidFill>
                  <a:srgbClr val="3888CA"/>
                </a:solidFill>
                <a:latin typeface="Arial Narrow" panose="020B0606020202030204" pitchFamily="34" charset="0"/>
              </a:rPr>
              <a:t>длина кратчайшего пути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833659" y="4201343"/>
            <a:ext cx="14766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600" b="1" dirty="0">
                <a:solidFill>
                  <a:srgbClr val="3888CA"/>
                </a:solidFill>
                <a:latin typeface="Arial Narrow" panose="020B0606020202030204" pitchFamily="34" charset="0"/>
              </a:rPr>
              <a:t>(диаметр сети)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28547" y="2523376"/>
            <a:ext cx="229421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600" b="1" dirty="0">
                <a:solidFill>
                  <a:srgbClr val="3888CA"/>
                </a:solidFill>
                <a:latin typeface="Arial Narrow" panose="020B0606020202030204" pitchFamily="34" charset="0"/>
              </a:rPr>
              <a:t>(средняя степень узлов)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658264" y="2549664"/>
            <a:ext cx="35283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solidFill>
                  <a:srgbClr val="3888CA"/>
                </a:solidFill>
                <a:latin typeface="Arial Narrow" panose="020B0606020202030204" pitchFamily="34" charset="0"/>
              </a:rPr>
              <a:t>(средний коэффициент кластеризации)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1475656" y="6421277"/>
            <a:ext cx="3312368" cy="2391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TextBox 17"/>
          <p:cNvSpPr txBox="1"/>
          <p:nvPr/>
        </p:nvSpPr>
        <p:spPr>
          <a:xfrm>
            <a:off x="1475656" y="6253146"/>
            <a:ext cx="3638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rgbClr val="3888CA"/>
                </a:solidFill>
                <a:latin typeface="Arial Narrow" panose="020B0606020202030204" pitchFamily="34" charset="0"/>
              </a:rPr>
              <a:t>нагрузка узла </a:t>
            </a:r>
            <a:r>
              <a:rPr lang="ru-RU" sz="1400" dirty="0"/>
              <a:t>(</a:t>
            </a:r>
            <a:r>
              <a:rPr lang="en-US" sz="1400" dirty="0" err="1"/>
              <a:t>betweenness</a:t>
            </a:r>
            <a:r>
              <a:rPr lang="en-US" sz="1400" dirty="0"/>
              <a:t> centrality)</a:t>
            </a:r>
          </a:p>
        </p:txBody>
      </p:sp>
      <p:sp>
        <p:nvSpPr>
          <p:cNvPr id="20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D1BD47-573A-452E-B7B4-BEAF95123EC7}" type="slidenum">
              <a:rPr lang="ru-RU" smtClean="0"/>
              <a:pPr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0546011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39552" y="296571"/>
            <a:ext cx="773025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  <a:latin typeface="Arial Narrow" panose="020B0606020202030204" pitchFamily="34" charset="0"/>
              </a:rPr>
              <a:t>КЛЮЧЕВЫЕ МОДЕЛИ СЛОЖНЫХ СЕТЕЙ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65472" y="1556792"/>
            <a:ext cx="2462312" cy="432048"/>
          </a:xfrm>
          <a:prstGeom prst="rect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 b="1">
                <a:solidFill>
                  <a:schemeClr val="accent2">
                    <a:lumMod val="60000"/>
                    <a:lumOff val="4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dirty="0">
                <a:solidFill>
                  <a:schemeClr val="accent1"/>
                </a:solidFill>
                <a:latin typeface="Arial Narrow" panose="020B0606020202030204" pitchFamily="34" charset="0"/>
              </a:rPr>
              <a:t>Случайный граф</a:t>
            </a:r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472" y="2013123"/>
            <a:ext cx="2462312" cy="20864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6301" y="2013123"/>
            <a:ext cx="2519995" cy="2086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588" y="4504952"/>
            <a:ext cx="2443818" cy="21321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185588" y="4207272"/>
            <a:ext cx="2443818" cy="400915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 b="1">
                <a:solidFill>
                  <a:schemeClr val="accent2">
                    <a:lumMod val="60000"/>
                    <a:lumOff val="4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dirty="0">
                <a:solidFill>
                  <a:schemeClr val="accent1"/>
                </a:solidFill>
                <a:latin typeface="Arial Narrow" panose="020B0606020202030204" pitchFamily="34" charset="0"/>
              </a:rPr>
              <a:t>«Тесный мир»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711664" y="1484784"/>
            <a:ext cx="2524632" cy="600348"/>
          </a:xfrm>
          <a:prstGeom prst="rect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 b="1">
                <a:solidFill>
                  <a:schemeClr val="accent2">
                    <a:lumMod val="60000"/>
                    <a:lumOff val="4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dirty="0" err="1">
                <a:solidFill>
                  <a:schemeClr val="accent1"/>
                </a:solidFill>
                <a:latin typeface="Arial Narrow" panose="020B0606020202030204" pitchFamily="34" charset="0"/>
              </a:rPr>
              <a:t>Безмасштабная</a:t>
            </a:r>
            <a:r>
              <a:rPr lang="ru-RU" dirty="0">
                <a:solidFill>
                  <a:schemeClr val="accent1"/>
                </a:solidFill>
                <a:latin typeface="Arial Narrow" panose="020B0606020202030204" pitchFamily="34" charset="0"/>
              </a:rPr>
              <a:t> сеть</a:t>
            </a:r>
          </a:p>
        </p:txBody>
      </p:sp>
      <p:pic>
        <p:nvPicPr>
          <p:cNvPr id="9" name="Picture 7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6015" y="4504952"/>
            <a:ext cx="2514809" cy="21321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4716015" y="4173364"/>
            <a:ext cx="2514809" cy="400915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 b="1">
                <a:solidFill>
                  <a:schemeClr val="accent2">
                    <a:lumMod val="60000"/>
                    <a:lumOff val="4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dirty="0" err="1">
                <a:solidFill>
                  <a:schemeClr val="accent1"/>
                </a:solidFill>
                <a:latin typeface="Arial Narrow" panose="020B0606020202030204" pitchFamily="34" charset="0"/>
              </a:rPr>
              <a:t>Самоподобная</a:t>
            </a:r>
            <a:r>
              <a:rPr lang="ru-RU" dirty="0">
                <a:solidFill>
                  <a:schemeClr val="accent1"/>
                </a:solidFill>
                <a:latin typeface="Arial Narrow" panose="020B0606020202030204" pitchFamily="34" charset="0"/>
              </a:rPr>
              <a:t> сеть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555776" y="1812575"/>
            <a:ext cx="208660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285750" indent="-285750">
              <a:buFont typeface="Arial" panose="020B0604020202020204" pitchFamily="34" charset="0"/>
              <a:buChar char="•"/>
              <a:defRPr sz="1600">
                <a:solidFill>
                  <a:schemeClr val="accent2">
                    <a:lumMod val="60000"/>
                    <a:lumOff val="40000"/>
                  </a:schemeClr>
                </a:solidFill>
              </a:defRPr>
            </a:lvl1pPr>
          </a:lstStyle>
          <a:p>
            <a:pPr marL="0" indent="0">
              <a:buNone/>
            </a:pPr>
            <a:r>
              <a:rPr lang="ru-RU" dirty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rPr>
              <a:t>Правило роста:</a:t>
            </a:r>
          </a:p>
          <a:p>
            <a:pPr marL="0" indent="0">
              <a:buNone/>
            </a:pPr>
            <a:r>
              <a:rPr lang="ru-RU" dirty="0">
                <a:solidFill>
                  <a:schemeClr val="tx1"/>
                </a:solidFill>
                <a:latin typeface="Arial Narrow" panose="020B0606020202030204" pitchFamily="34" charset="0"/>
              </a:rPr>
              <a:t>случайное соединение узлов</a:t>
            </a:r>
          </a:p>
          <a:p>
            <a:pPr marL="0" indent="0">
              <a:buNone/>
            </a:pPr>
            <a:r>
              <a:rPr lang="ru-RU" dirty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rPr>
              <a:t>Свойства:</a:t>
            </a:r>
          </a:p>
          <a:p>
            <a:r>
              <a:rPr lang="ru-RU" dirty="0">
                <a:solidFill>
                  <a:schemeClr val="tx1"/>
                </a:solidFill>
                <a:latin typeface="Arial Narrow" panose="020B0606020202030204" pitchFamily="34" charset="0"/>
              </a:rPr>
              <a:t>малая кластеризация</a:t>
            </a:r>
          </a:p>
          <a:p>
            <a:r>
              <a:rPr lang="ru-RU" dirty="0">
                <a:solidFill>
                  <a:schemeClr val="tx1"/>
                </a:solidFill>
                <a:latin typeface="Arial Narrow" panose="020B0606020202030204" pitchFamily="34" charset="0"/>
              </a:rPr>
              <a:t>малый диаметр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557399" y="4400795"/>
            <a:ext cx="194259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rPr>
              <a:t>Правило роста:</a:t>
            </a:r>
          </a:p>
          <a:p>
            <a:r>
              <a:rPr lang="ru-RU" sz="1600" dirty="0">
                <a:latin typeface="Arial Narrow" panose="020B0606020202030204" pitchFamily="34" charset="0"/>
              </a:rPr>
              <a:t>связь с ближайшими соседями и небольшая доля «длинных связей»</a:t>
            </a:r>
          </a:p>
          <a:p>
            <a:r>
              <a:rPr lang="ru-RU" sz="1600" dirty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rPr>
              <a:t>Свойства:</a:t>
            </a:r>
            <a:endParaRPr lang="ru-RU" sz="1600" dirty="0">
              <a:latin typeface="Arial Narrow" panose="020B0606020202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Arial Narrow" panose="020B0606020202030204" pitchFamily="34" charset="0"/>
              </a:rPr>
              <a:t>высокая кластеризац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Arial Narrow" panose="020B0606020202030204" pitchFamily="34" charset="0"/>
              </a:rPr>
              <a:t>малый диаметр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164289" y="1812575"/>
            <a:ext cx="1979712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rPr>
              <a:t>Правило роста:</a:t>
            </a:r>
          </a:p>
          <a:p>
            <a:r>
              <a:rPr lang="ru-RU" sz="1600" dirty="0">
                <a:latin typeface="Arial Narrow" panose="020B0606020202030204" pitchFamily="34" charset="0"/>
              </a:rPr>
              <a:t>предпочтительное присоединение к узлам с большим количеством связей</a:t>
            </a:r>
          </a:p>
          <a:p>
            <a:r>
              <a:rPr lang="ru-RU" sz="1600" dirty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rPr>
              <a:t>Свойства:</a:t>
            </a:r>
            <a:endParaRPr lang="ru-RU" sz="1600" dirty="0">
              <a:latin typeface="Arial Narrow" panose="020B0606020202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Arial Narrow" panose="020B0606020202030204" pitchFamily="34" charset="0"/>
              </a:rPr>
              <a:t>малый диаметр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Arial Narrow" panose="020B0606020202030204" pitchFamily="34" charset="0"/>
              </a:rPr>
              <a:t>наличие «</a:t>
            </a:r>
            <a:r>
              <a:rPr lang="ru-RU" sz="1600" dirty="0" err="1">
                <a:latin typeface="Arial Narrow" panose="020B0606020202030204" pitchFamily="34" charset="0"/>
              </a:rPr>
              <a:t>хабов</a:t>
            </a:r>
            <a:r>
              <a:rPr lang="ru-RU" sz="1600" dirty="0">
                <a:latin typeface="Arial Narrow" panose="020B0606020202030204" pitchFamily="34" charset="0"/>
              </a:rPr>
              <a:t>»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164289" y="4389181"/>
            <a:ext cx="197971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rPr>
              <a:t>Правило роста:</a:t>
            </a:r>
          </a:p>
          <a:p>
            <a:r>
              <a:rPr lang="ru-RU" sz="1600" dirty="0">
                <a:latin typeface="Arial Narrow" panose="020B0606020202030204" pitchFamily="34" charset="0"/>
              </a:rPr>
              <a:t>воспроизводство однотипных структур на разных масштабах сети</a:t>
            </a:r>
          </a:p>
          <a:p>
            <a:r>
              <a:rPr lang="ru-RU" sz="1600" dirty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rPr>
              <a:t>Свойства:</a:t>
            </a:r>
            <a:endParaRPr lang="ru-RU" sz="1600" dirty="0">
              <a:latin typeface="Arial Narrow" panose="020B0606020202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Arial Narrow" panose="020B0606020202030204" pitchFamily="34" charset="0"/>
              </a:rPr>
              <a:t>большой диаметр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Arial Narrow" panose="020B0606020202030204" pitchFamily="34" charset="0"/>
              </a:rPr>
              <a:t>отталкивание «</a:t>
            </a:r>
            <a:r>
              <a:rPr lang="ru-RU" sz="1600" dirty="0" err="1">
                <a:latin typeface="Arial Narrow" panose="020B0606020202030204" pitchFamily="34" charset="0"/>
              </a:rPr>
              <a:t>хабов</a:t>
            </a:r>
            <a:r>
              <a:rPr lang="ru-RU" sz="1600" dirty="0">
                <a:latin typeface="Arial Narrow" panose="020B0606020202030204" pitchFamily="34" charset="0"/>
              </a:rPr>
              <a:t>»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323528" y="4173364"/>
            <a:ext cx="8640960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path path="rect">
                <a:fillToRect l="50000" t="50000" r="50000" b="50000"/>
              </a:path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/>
          <p:cNvCxnSpPr/>
          <p:nvPr/>
        </p:nvCxnSpPr>
        <p:spPr>
          <a:xfrm>
            <a:off x="4572000" y="1556792"/>
            <a:ext cx="0" cy="4753255"/>
          </a:xfrm>
          <a:prstGeom prst="line">
            <a:avLst/>
          </a:prstGeom>
          <a:ln w="19050"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path path="rect">
                <a:fillToRect l="50000" t="50000" r="50000" b="50000"/>
              </a:path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Прямоугольник 16"/>
          <p:cNvSpPr/>
          <p:nvPr/>
        </p:nvSpPr>
        <p:spPr>
          <a:xfrm>
            <a:off x="154111" y="648072"/>
            <a:ext cx="7874273" cy="7647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dirty="0">
                <a:solidFill>
                  <a:schemeClr val="accent2"/>
                </a:solidFill>
                <a:latin typeface="Arial Narrow" panose="020B0606020202030204" pitchFamily="34" charset="0"/>
              </a:rPr>
              <a:t>Основные результаты теории сложных сетей базируются на анализе четырех базовых моделей сложных сетей</a:t>
            </a:r>
          </a:p>
        </p:txBody>
      </p:sp>
    </p:spTree>
    <p:extLst>
      <p:ext uri="{BB962C8B-B14F-4D97-AF65-F5344CB8AC3E}">
        <p14:creationId xmlns:p14="http://schemas.microsoft.com/office/powerpoint/2010/main" val="354019389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0" y="2811789"/>
            <a:ext cx="9144000" cy="3240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4" name="Picture 5" descr="C:\Users\bogomolov_a\Documents\Фирменный_стиль\Arrow.PNG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667" y="2816186"/>
            <a:ext cx="336917" cy="298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Текст 1"/>
          <p:cNvSpPr txBox="1">
            <a:spLocks/>
          </p:cNvSpPr>
          <p:nvPr/>
        </p:nvSpPr>
        <p:spPr>
          <a:xfrm>
            <a:off x="107505" y="2258146"/>
            <a:ext cx="8954392" cy="522782"/>
          </a:xfrm>
          <a:prstGeom prst="rect">
            <a:avLst/>
          </a:prstGeom>
        </p:spPr>
        <p:txBody>
          <a:bodyPr vert="horz" wrap="square" lIns="33596" tIns="45503" rIns="91029" bIns="45503" rtlCol="0" anchor="ctr">
            <a:spAutoFit/>
          </a:bodyPr>
          <a:lstStyle>
            <a:defPPr>
              <a:defRPr lang="ru-RU"/>
            </a:defPPr>
            <a:lvl1pPr marL="0" algn="r" defTabSz="910238" rtl="0" eaLnBrk="1" fontAlgn="auto" latinLnBrk="0" hangingPunct="1">
              <a:spcBef>
                <a:spcPts val="0"/>
              </a:spcBef>
              <a:spcAft>
                <a:spcPts val="0"/>
              </a:spcAft>
              <a:defRPr sz="1200" kern="1200">
                <a:solidFill>
                  <a:prstClr val="black">
                    <a:tint val="75000"/>
                  </a:prst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800" dirty="0">
                <a:solidFill>
                  <a:prstClr val="white">
                    <a:lumMod val="50000"/>
                  </a:prstClr>
                </a:solidFill>
                <a:latin typeface="Arial Narrow" panose="020B0606020202030204" pitchFamily="34" charset="0"/>
              </a:rPr>
              <a:t>Технологии для работы со сложными сетями</a:t>
            </a:r>
          </a:p>
        </p:txBody>
      </p:sp>
    </p:spTree>
    <p:extLst>
      <p:ext uri="{BB962C8B-B14F-4D97-AF65-F5344CB8AC3E}">
        <p14:creationId xmlns:p14="http://schemas.microsoft.com/office/powerpoint/2010/main" val="428391517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8820472" y="296571"/>
            <a:ext cx="47816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  <a:latin typeface="Arial Narrow" panose="020B0606020202030204" pitchFamily="34" charset="0"/>
              </a:rPr>
              <a:t>8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730175" y="296571"/>
            <a:ext cx="874353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  <a:latin typeface="Arial Narrow" panose="020B0606020202030204" pitchFamily="34" charset="0"/>
              </a:rPr>
              <a:t>ТИПИЗАЦИЯ СЛОЖНЫХ СЕТЕЙ</a:t>
            </a:r>
          </a:p>
        </p:txBody>
      </p:sp>
      <p:sp>
        <p:nvSpPr>
          <p:cNvPr id="8" name="Прямоугольник 7"/>
          <p:cNvSpPr/>
          <p:nvPr>
            <p:custDataLst>
              <p:tags r:id="rId1"/>
            </p:custDataLst>
          </p:nvPr>
        </p:nvSpPr>
        <p:spPr>
          <a:xfrm>
            <a:off x="323528" y="1498378"/>
            <a:ext cx="3672408" cy="448072"/>
          </a:xfrm>
          <a:prstGeom prst="rect">
            <a:avLst/>
          </a:prstGeom>
          <a:solidFill>
            <a:srgbClr val="3888CA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115000"/>
              </a:lnSpc>
            </a:pPr>
            <a:r>
              <a:rPr lang="ru-RU" sz="24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ориентированная</a:t>
            </a:r>
          </a:p>
        </p:txBody>
      </p:sp>
      <p:sp>
        <p:nvSpPr>
          <p:cNvPr id="9" name="Прямоугольник 8"/>
          <p:cNvSpPr/>
          <p:nvPr>
            <p:custDataLst>
              <p:tags r:id="rId2"/>
            </p:custDataLst>
          </p:nvPr>
        </p:nvSpPr>
        <p:spPr>
          <a:xfrm>
            <a:off x="5148064" y="1498378"/>
            <a:ext cx="3672408" cy="448072"/>
          </a:xfrm>
          <a:prstGeom prst="rect">
            <a:avLst/>
          </a:prstGeom>
          <a:solidFill>
            <a:srgbClr val="3888CA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15000"/>
              </a:lnSpc>
            </a:pPr>
            <a:r>
              <a:rPr lang="ru-RU" sz="24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не ориентированная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4316577" y="1484785"/>
            <a:ext cx="510845" cy="461665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r>
              <a:rPr lang="en-US" sz="2400" b="1" dirty="0">
                <a:solidFill>
                  <a:srgbClr val="3888CA"/>
                </a:solidFill>
              </a:rPr>
              <a:t>VS</a:t>
            </a:r>
            <a:endParaRPr lang="ru-RU" sz="2400" dirty="0">
              <a:solidFill>
                <a:srgbClr val="3888CA"/>
              </a:solidFill>
            </a:endParaRPr>
          </a:p>
        </p:txBody>
      </p:sp>
      <p:sp>
        <p:nvSpPr>
          <p:cNvPr id="11" name="Прямоугольник 10"/>
          <p:cNvSpPr/>
          <p:nvPr>
            <p:custDataLst>
              <p:tags r:id="rId3"/>
            </p:custDataLst>
          </p:nvPr>
        </p:nvSpPr>
        <p:spPr>
          <a:xfrm>
            <a:off x="323528" y="2636913"/>
            <a:ext cx="3672408" cy="736104"/>
          </a:xfrm>
          <a:prstGeom prst="rect">
            <a:avLst/>
          </a:prstGeom>
          <a:solidFill>
            <a:srgbClr val="3888CA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115000"/>
              </a:lnSpc>
            </a:pPr>
            <a:r>
              <a:rPr lang="ru-RU" sz="24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пространственная</a:t>
            </a:r>
          </a:p>
        </p:txBody>
      </p:sp>
      <p:sp>
        <p:nvSpPr>
          <p:cNvPr id="12" name="Прямоугольник 11"/>
          <p:cNvSpPr/>
          <p:nvPr>
            <p:custDataLst>
              <p:tags r:id="rId4"/>
            </p:custDataLst>
          </p:nvPr>
        </p:nvSpPr>
        <p:spPr>
          <a:xfrm>
            <a:off x="5148064" y="2636913"/>
            <a:ext cx="3672408" cy="736104"/>
          </a:xfrm>
          <a:prstGeom prst="rect">
            <a:avLst/>
          </a:prstGeom>
          <a:solidFill>
            <a:srgbClr val="3888CA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15000"/>
              </a:lnSpc>
            </a:pPr>
            <a:r>
              <a:rPr lang="ru-RU" sz="24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без пространственной привязки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4316577" y="2774132"/>
            <a:ext cx="510845" cy="461665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r>
              <a:rPr lang="en-US" sz="2400" b="1" dirty="0">
                <a:solidFill>
                  <a:srgbClr val="3888CA"/>
                </a:solidFill>
              </a:rPr>
              <a:t>VS</a:t>
            </a:r>
            <a:endParaRPr lang="ru-RU" sz="2400" dirty="0">
              <a:solidFill>
                <a:srgbClr val="3888CA"/>
              </a:solidFill>
            </a:endParaRPr>
          </a:p>
        </p:txBody>
      </p:sp>
      <p:sp>
        <p:nvSpPr>
          <p:cNvPr id="14" name="Прямоугольник 13"/>
          <p:cNvSpPr/>
          <p:nvPr>
            <p:custDataLst>
              <p:tags r:id="rId5"/>
            </p:custDataLst>
          </p:nvPr>
        </p:nvSpPr>
        <p:spPr>
          <a:xfrm>
            <a:off x="323528" y="4018658"/>
            <a:ext cx="3672408" cy="448072"/>
          </a:xfrm>
          <a:prstGeom prst="rect">
            <a:avLst/>
          </a:prstGeom>
          <a:solidFill>
            <a:srgbClr val="3888CA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115000"/>
              </a:lnSpc>
            </a:pPr>
            <a:r>
              <a:rPr lang="ru-RU" sz="24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однородная</a:t>
            </a:r>
          </a:p>
        </p:txBody>
      </p:sp>
      <p:sp>
        <p:nvSpPr>
          <p:cNvPr id="15" name="Прямоугольник 14"/>
          <p:cNvSpPr/>
          <p:nvPr>
            <p:custDataLst>
              <p:tags r:id="rId6"/>
            </p:custDataLst>
          </p:nvPr>
        </p:nvSpPr>
        <p:spPr>
          <a:xfrm>
            <a:off x="5148064" y="4018658"/>
            <a:ext cx="3672408" cy="448072"/>
          </a:xfrm>
          <a:prstGeom prst="rect">
            <a:avLst/>
          </a:prstGeom>
          <a:solidFill>
            <a:srgbClr val="3888CA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15000"/>
              </a:lnSpc>
            </a:pPr>
            <a:r>
              <a:rPr lang="ru-RU" sz="24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не однородная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4316577" y="4005065"/>
            <a:ext cx="510845" cy="461665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r>
              <a:rPr lang="en-US" sz="2400" b="1" dirty="0">
                <a:solidFill>
                  <a:srgbClr val="3888CA"/>
                </a:solidFill>
              </a:rPr>
              <a:t>VS</a:t>
            </a:r>
            <a:endParaRPr lang="ru-RU" sz="2400" dirty="0">
              <a:solidFill>
                <a:srgbClr val="3888CA"/>
              </a:solidFill>
            </a:endParaRPr>
          </a:p>
        </p:txBody>
      </p:sp>
      <p:sp>
        <p:nvSpPr>
          <p:cNvPr id="17" name="Прямоугольник 16"/>
          <p:cNvSpPr/>
          <p:nvPr>
            <p:custDataLst>
              <p:tags r:id="rId7"/>
            </p:custDataLst>
          </p:nvPr>
        </p:nvSpPr>
        <p:spPr>
          <a:xfrm>
            <a:off x="323528" y="5242793"/>
            <a:ext cx="3672408" cy="706487"/>
          </a:xfrm>
          <a:prstGeom prst="rect">
            <a:avLst/>
          </a:prstGeom>
          <a:solidFill>
            <a:srgbClr val="3888CA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115000"/>
              </a:lnSpc>
            </a:pPr>
            <a:r>
              <a:rPr lang="ru-RU" sz="24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с дополнительными свойствами</a:t>
            </a:r>
          </a:p>
        </p:txBody>
      </p:sp>
      <p:sp>
        <p:nvSpPr>
          <p:cNvPr id="18" name="Прямоугольник 17"/>
          <p:cNvSpPr/>
          <p:nvPr>
            <p:custDataLst>
              <p:tags r:id="rId8"/>
            </p:custDataLst>
          </p:nvPr>
        </p:nvSpPr>
        <p:spPr>
          <a:xfrm>
            <a:off x="5148064" y="5242794"/>
            <a:ext cx="3672408" cy="706486"/>
          </a:xfrm>
          <a:prstGeom prst="rect">
            <a:avLst/>
          </a:prstGeom>
          <a:solidFill>
            <a:srgbClr val="3888CA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15000"/>
              </a:lnSpc>
            </a:pPr>
            <a:r>
              <a:rPr lang="ru-RU" sz="24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без дополнительных свойств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4316577" y="5229201"/>
            <a:ext cx="510845" cy="461665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r>
              <a:rPr lang="en-US" sz="2400" b="1" dirty="0">
                <a:solidFill>
                  <a:srgbClr val="3888CA"/>
                </a:solidFill>
              </a:rPr>
              <a:t>VS</a:t>
            </a:r>
            <a:endParaRPr lang="ru-RU" sz="2400" dirty="0">
              <a:solidFill>
                <a:srgbClr val="3888C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874569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8822813" y="296571"/>
            <a:ext cx="47816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  <a:latin typeface="Arial Narrow" panose="020B0606020202030204" pitchFamily="34" charset="0"/>
              </a:rPr>
              <a:t>9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730175" y="296571"/>
            <a:ext cx="874353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  <a:latin typeface="Arial Narrow" panose="020B0606020202030204" pitchFamily="34" charset="0"/>
              </a:rPr>
              <a:t>PROPERTY GRAPH</a:t>
            </a:r>
            <a:endParaRPr lang="ru-RU" sz="20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pic>
        <p:nvPicPr>
          <p:cNvPr id="10242" name="Picture 2" descr="https://github.com/tinkerpop/blueprints/raw/master/doc/images/graph-example-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8" y="696681"/>
            <a:ext cx="6768752" cy="59379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4260422" y="4323585"/>
            <a:ext cx="5040559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Arial" charset="0"/>
                <a:cs typeface="Arial" charset="0"/>
              </a:rPr>
              <a:t>Множество узлов,</a:t>
            </a:r>
            <a:r>
              <a:rPr lang="en-US" dirty="0">
                <a:latin typeface="Arial" charset="0"/>
                <a:cs typeface="Arial" charset="0"/>
              </a:rPr>
              <a:t> </a:t>
            </a:r>
            <a:r>
              <a:rPr lang="ru-RU" dirty="0">
                <a:latin typeface="Arial" charset="0"/>
                <a:cs typeface="Arial" charset="0"/>
              </a:rPr>
              <a:t>у каждого:</a:t>
            </a:r>
          </a:p>
          <a:p>
            <a:pPr lvl="1"/>
            <a:r>
              <a:rPr lang="ru-RU" dirty="0">
                <a:latin typeface="Arial" charset="0"/>
                <a:cs typeface="Arial" charset="0"/>
              </a:rPr>
              <a:t>уникальный идентификатор; множества входящих и исходящих связей, словарь свойств</a:t>
            </a:r>
          </a:p>
          <a:p>
            <a:r>
              <a:rPr lang="ru-RU" dirty="0">
                <a:latin typeface="Arial" charset="0"/>
                <a:cs typeface="Arial" charset="0"/>
              </a:rPr>
              <a:t>Множество связей, у каждой:</a:t>
            </a:r>
          </a:p>
          <a:p>
            <a:pPr lvl="1"/>
            <a:r>
              <a:rPr lang="ru-RU" dirty="0">
                <a:latin typeface="Arial" charset="0"/>
                <a:cs typeface="Arial" charset="0"/>
              </a:rPr>
              <a:t>уникальный идентификатор; стартовый и конечный узел; наименование типа связи;  словарь свойств</a:t>
            </a:r>
          </a:p>
        </p:txBody>
      </p:sp>
    </p:spTree>
    <p:extLst>
      <p:ext uri="{BB962C8B-B14F-4D97-AF65-F5344CB8AC3E}">
        <p14:creationId xmlns:p14="http://schemas.microsoft.com/office/powerpoint/2010/main" val="8272012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0" y="2811789"/>
            <a:ext cx="9144000" cy="3240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4" name="Picture 5" descr="C:\Users\bogomolov_a\Documents\Фирменный_стиль\Arrow.PNG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667" y="2816186"/>
            <a:ext cx="336917" cy="298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Текст 1"/>
          <p:cNvSpPr txBox="1">
            <a:spLocks/>
          </p:cNvSpPr>
          <p:nvPr/>
        </p:nvSpPr>
        <p:spPr>
          <a:xfrm>
            <a:off x="1007604" y="2258146"/>
            <a:ext cx="7200800" cy="522782"/>
          </a:xfrm>
          <a:prstGeom prst="rect">
            <a:avLst/>
          </a:prstGeom>
        </p:spPr>
        <p:txBody>
          <a:bodyPr vert="horz" lIns="33596" tIns="45503" rIns="91029" bIns="45503" rtlCol="0" anchor="ctr">
            <a:spAutoFit/>
          </a:bodyPr>
          <a:lstStyle>
            <a:defPPr>
              <a:defRPr lang="ru-RU"/>
            </a:defPPr>
            <a:lvl1pPr marL="0" algn="r" defTabSz="910238" rtl="0" eaLnBrk="1" fontAlgn="auto" latinLnBrk="0" hangingPunct="1">
              <a:spcBef>
                <a:spcPts val="0"/>
              </a:spcBef>
              <a:spcAft>
                <a:spcPts val="0"/>
              </a:spcAft>
              <a:defRPr sz="1200" kern="1200">
                <a:solidFill>
                  <a:prstClr val="black">
                    <a:tint val="75000"/>
                  </a:prst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800" dirty="0">
                <a:solidFill>
                  <a:prstClr val="white">
                    <a:lumMod val="50000"/>
                  </a:prstClr>
                </a:solidFill>
                <a:latin typeface="Arial Narrow" panose="020B0606020202030204" pitchFamily="34" charset="0"/>
              </a:rPr>
              <a:t>Введение в теорию сложных сетей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904916" y="1340768"/>
            <a:ext cx="47816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  <a:latin typeface="Arial Narrow" panose="020B0606020202030204" pitchFamily="34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19608339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Картинки по запросу arangodb">
            <a:extLst>
              <a:ext uri="{FF2B5EF4-FFF2-40B4-BE49-F238E27FC236}">
                <a16:creationId xmlns:a16="http://schemas.microsoft.com/office/drawing/2014/main" id="{379E3C19-494C-4D75-8BB8-667BC0B8AF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3586" y="1136501"/>
            <a:ext cx="2452961" cy="15698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730175" y="296571"/>
            <a:ext cx="874353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  <a:latin typeface="Arial Narrow" panose="020B0606020202030204" pitchFamily="34" charset="0"/>
              </a:rPr>
              <a:t>ИНСТРУМЕНТАЛЬНЫЕ СРЕДСТВА ДЛЯ РАБОТЫ С СЕТЯМИ</a:t>
            </a:r>
          </a:p>
        </p:txBody>
      </p:sp>
      <p:sp>
        <p:nvSpPr>
          <p:cNvPr id="2" name="AutoShape 2" descr="Image result for pyth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" name="AutoShape 4" descr="Image result for pyth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7" name="AutoShape 6" descr="Image result for python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3082" name="Picture 10" descr="https://developer.r-project.org/Logo/Rlogo-3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1683" y="5701578"/>
            <a:ext cx="920615" cy="7051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3" name="Picture 1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703" y="3633279"/>
            <a:ext cx="2542773" cy="921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4" name="Picture 1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732" y="4674468"/>
            <a:ext cx="2281717" cy="4478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6" name="Picture 14" descr="http://tinkerpop.incubator.apache.org/images/apache-tinkerpop-logo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5789" y="3292171"/>
            <a:ext cx="1463509" cy="5080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AutoShape 16" descr="Image result for neo4j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" name="AutoShape 18" descr="Image result for neo4j"/>
          <p:cNvSpPr>
            <a:spLocks noChangeAspect="1" noChangeArrowheads="1"/>
          </p:cNvSpPr>
          <p:nvPr/>
        </p:nvSpPr>
        <p:spPr bwMode="auto">
          <a:xfrm>
            <a:off x="765175" y="4651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3102" name="Picture 30" descr="http://odino.org/images/orientdb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2269" y="964730"/>
            <a:ext cx="2419350" cy="1004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05" name="Picture 3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347" y="2874389"/>
            <a:ext cx="2383433" cy="5880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07" name="Picture 35" descr="http://codyburleson.com/wp-content/uploads/2013/10/sparqlThumb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9935" y="3237638"/>
            <a:ext cx="1125160" cy="1125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09" name="Picture 37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3228" y="4062223"/>
            <a:ext cx="2487623" cy="8156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11" name="Picture 39" descr="https://upload.wikimedia.org/wikipedia/en/5/54/Gremlin_%28programming_language%29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1880" y="3456395"/>
            <a:ext cx="1872208" cy="726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13" name="Picture 41" descr="https://upload.wikimedia.org/wikipedia/en/8/88/Java_logo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0531" y="5564623"/>
            <a:ext cx="965312" cy="9733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15" name="Picture 43" descr="http://blog.softheme.com/wp-content/uploads/2015/10/c-prog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175" y="5526908"/>
            <a:ext cx="983187" cy="9913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2" name="Picture 20" descr="http://vmturbo.com/wp-content/uploads/2015/03/neo4j_notag_whitebg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0277" y="1912548"/>
            <a:ext cx="1903685" cy="10267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Прямоугольник 12"/>
          <p:cNvSpPr/>
          <p:nvPr/>
        </p:nvSpPr>
        <p:spPr>
          <a:xfrm>
            <a:off x="202294" y="2708920"/>
            <a:ext cx="3001553" cy="2520280"/>
          </a:xfrm>
          <a:prstGeom prst="rect">
            <a:avLst/>
          </a:prstGeom>
          <a:noFill/>
          <a:ln>
            <a:solidFill>
              <a:srgbClr val="265A9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Прямоугольник 30"/>
          <p:cNvSpPr/>
          <p:nvPr/>
        </p:nvSpPr>
        <p:spPr>
          <a:xfrm>
            <a:off x="233167" y="5453877"/>
            <a:ext cx="8756131" cy="1200564"/>
          </a:xfrm>
          <a:prstGeom prst="rect">
            <a:avLst/>
          </a:prstGeom>
          <a:noFill/>
          <a:ln>
            <a:solidFill>
              <a:srgbClr val="265A9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Прямоугольник 31"/>
          <p:cNvSpPr/>
          <p:nvPr/>
        </p:nvSpPr>
        <p:spPr>
          <a:xfrm>
            <a:off x="3489326" y="908720"/>
            <a:ext cx="5499188" cy="2030535"/>
          </a:xfrm>
          <a:prstGeom prst="rect">
            <a:avLst/>
          </a:prstGeom>
          <a:noFill/>
          <a:ln>
            <a:solidFill>
              <a:srgbClr val="265A9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Прямоугольник 32"/>
          <p:cNvSpPr/>
          <p:nvPr/>
        </p:nvSpPr>
        <p:spPr>
          <a:xfrm>
            <a:off x="3498489" y="3068960"/>
            <a:ext cx="5490025" cy="2160240"/>
          </a:xfrm>
          <a:prstGeom prst="rect">
            <a:avLst/>
          </a:prstGeom>
          <a:noFill/>
          <a:ln>
            <a:solidFill>
              <a:srgbClr val="265A9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Прямоугольник 33"/>
          <p:cNvSpPr/>
          <p:nvPr/>
        </p:nvSpPr>
        <p:spPr>
          <a:xfrm>
            <a:off x="2994098" y="5266483"/>
            <a:ext cx="3522118" cy="461665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ru-RU" sz="2400" b="1" dirty="0">
                <a:solidFill>
                  <a:schemeClr val="accent1"/>
                </a:solidFill>
                <a:latin typeface="Arial Narrow" panose="020B0606020202030204" pitchFamily="34" charset="0"/>
              </a:rPr>
              <a:t>Языки программирования</a:t>
            </a:r>
            <a:endParaRPr lang="ru-RU" sz="2400" dirty="0"/>
          </a:p>
        </p:txBody>
      </p:sp>
      <p:sp>
        <p:nvSpPr>
          <p:cNvPr id="35" name="Прямоугольник 34"/>
          <p:cNvSpPr/>
          <p:nvPr/>
        </p:nvSpPr>
        <p:spPr>
          <a:xfrm>
            <a:off x="5275503" y="646396"/>
            <a:ext cx="1960793" cy="461665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ru-RU" sz="2400" b="1" dirty="0" err="1">
                <a:solidFill>
                  <a:schemeClr val="accent1"/>
                </a:solidFill>
                <a:latin typeface="Arial Narrow" panose="020B0606020202030204" pitchFamily="34" charset="0"/>
              </a:rPr>
              <a:t>Графовые</a:t>
            </a:r>
            <a:r>
              <a:rPr lang="ru-RU" sz="2400" b="1" dirty="0">
                <a:solidFill>
                  <a:schemeClr val="accent1"/>
                </a:solidFill>
                <a:latin typeface="Arial Narrow" panose="020B0606020202030204" pitchFamily="34" charset="0"/>
              </a:rPr>
              <a:t> БД</a:t>
            </a:r>
            <a:endParaRPr lang="ru-RU" sz="2400" dirty="0"/>
          </a:p>
        </p:txBody>
      </p:sp>
      <p:sp>
        <p:nvSpPr>
          <p:cNvPr id="36" name="Прямоугольник 35"/>
          <p:cNvSpPr/>
          <p:nvPr/>
        </p:nvSpPr>
        <p:spPr>
          <a:xfrm>
            <a:off x="5286852" y="2944185"/>
            <a:ext cx="2247731" cy="461665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ru-RU" sz="2400" b="1" dirty="0">
                <a:solidFill>
                  <a:schemeClr val="accent1"/>
                </a:solidFill>
                <a:latin typeface="Arial Narrow" panose="020B0606020202030204" pitchFamily="34" charset="0"/>
              </a:rPr>
              <a:t>Языки запросов</a:t>
            </a:r>
            <a:endParaRPr lang="ru-RU" sz="2400" dirty="0"/>
          </a:p>
        </p:txBody>
      </p:sp>
      <p:sp>
        <p:nvSpPr>
          <p:cNvPr id="37" name="Прямоугольник 36"/>
          <p:cNvSpPr/>
          <p:nvPr/>
        </p:nvSpPr>
        <p:spPr>
          <a:xfrm>
            <a:off x="862684" y="2420888"/>
            <a:ext cx="1693092" cy="461665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ru-RU" sz="2400" b="1" dirty="0">
                <a:solidFill>
                  <a:schemeClr val="accent1"/>
                </a:solidFill>
                <a:latin typeface="Arial Narrow" panose="020B0606020202030204" pitchFamily="34" charset="0"/>
              </a:rPr>
              <a:t>Библиотеки</a:t>
            </a:r>
            <a:endParaRPr lang="ru-RU" sz="2400" dirty="0"/>
          </a:p>
        </p:txBody>
      </p:sp>
      <p:pic>
        <p:nvPicPr>
          <p:cNvPr id="3117" name="Picture 45" descr="https://upload.wikimedia.org/wikipedia/en/thumb/0/04/Gephi-logo.png/200px-Gephi-logo.png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154" y="1060400"/>
            <a:ext cx="1368152" cy="533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AutoShape 47" descr="data:image/jpeg;base64,/9j/4AAQSkZJRgABAQAAAQABAAD/2wCEAAkGBxMTEhMTEhQVFRUXFhgbGBUWGRoeHxoaGBgXFxgYGBgZHSogHxolGxgaIjIhJSkvLi4wGh8zODMtNygtLisBCgoKDg0OGxAQGy8mICY3LjAyMzIyLS0xMi0tLy0tNS0yKy0tLTAvLzUtLS8tLzUvLy0tLS0tLS8tLS0tLS0tLf/AABEIAIcBdgMBEQACEQEDEQH/xAAcAAEAAgMBAQEAAAAAAAAAAAAABQYEBwgDAgH/xABHEAABAwIDBAcEBwUGBQUAAAABAAIDBBEFEiEGMUFRBxMiYXGBkTJSobEIFEJicoLBIyQzstE0Q5Kis+FTY3Tw8RY1g8LS/8QAGgEBAAMBAQEAAAAAAAAAAAAAAAMEBQYCAf/EADYRAAIBAwIDBgUCBgMBAQAAAAABAgMEEQUhEjFBE1FxgbHRImGRofAywRQVIzRC4SRSsvEz/9oADAMBAAIRAxEAPwDeKAIAgCAIAgCAIAgPKrqWRsdJI4NY0Xc4mwARvB9SbeEQQxqeXWGNsbDufMDmd3iIEED8Tge5VnXz+ktq3jH9b37l7+2T9+uVbdbwSfdyvj9HZnfJFVkHSpPvX0fsZ2EY2ycuZYxzMsXxPtmAO5wto5h94aKaE1LkQVaMqfPk+TJNeyIIAgCAIAgCAIAgCAIAgCAIAgCAIAgCAIAgCAIAgCAIAgCAIAgCAIAgCAIAgCAID465t8uYX5XF/RfMo+4fM+19PgQBAEBUsef19WyE/wAKIdY5vBzxbKD3DNfyKq3U8YiXLWOFKfXkvPn9tvMzwVWTJD6BUiZ5aITauNzWNqotJadwcDzYSGvYfukG/kvaliSZ6iuKLg+vqvzHmW+gqhLGyRu57Q4eYvZXDPMhAEAQBAEAQBAEAQBAEAQBAEAQBAEAQBAEAQBAEAQBAEAQBAEAQBAEAQBAEB5VVQ2NjnvNmtFyUBQotoPrr3gvcxgPZhaS3M33nuGrvw7hxusS5vJTeIPCNynZdhFSksv0+X+/oZTcNgtbqYrcsjf6Kjk99pPPN/UyIJ5KftRkuYPahJJFuJjvq0jluPJXaF5Km/i3RBUoxq/J9/v7k4NoICAWvz3G5gLj4HKNPNacryiv8s+G/oUFZ1nzjjx29Twkxt5/hxW75HAfBt/0UEr9f4x+v4yZWcV+qX0XvgxJquZwu+bIP+W0NH+J1z6WUMrqo+uPz5ksaNJbRjnx39MGBR1NOJMrHh0j95LnOJtrq4k+ihVVSfPJNOnUUd1hLwX2JQFTJlc+gV7TPLRD7X1IbSvbxkLWNHMuIv6NBPkvec4Xee6Sw3LuTf55k5sWf3KHuDh6PcFoGYTaAIAgCAIAgCAIAgCAIAgCAIAgCAIAgCAIAgCAIAgCAIAgCAIAgCAIAgCAICo9JFQRThg+0ST4Cw+br+Sr3UuGjJ/m5bsIqVxBPv8ATc1xTMIIIJBG4jgublI63Cawy5YRifWDK7R/z7x39yRmmZte34N1yJZpXsqkdNib8xbHE51ja50Gimp0qtT9ERN0ofrkYVdWysbmnnhp28yQPi4/qrkNPqv9UsFeV7Sj+mOfH8/Yrk20NE5xax1RXSD7EDHv+I0+Ksw0+it3uQz1Cs1iOy+RmQVL8zGT0clD1h/d5JMt3SN1yOtq11twdvs625TVLWnOHClgipXVSE+JvPy+RccKrHvY4ytDSwkEg6GwBJWYuKLcZc0X5xi8OHJmLNtRTtHZLnng1rTr62X1Vk+R6/h5L9TS8/YrON1ssj2Oe28rzkpqccXO4u7gNXO4AFX7ejLPHPyRTuK8eHs6fLq+/wD0bUwagEEEUIN8jACeZA7TvM3PmrZRM1AEAQBAEAQBAEAQBAEAQBAEAQBAEAQBAEAQBAEAQBAEAQBAEAQBAEAQBAEBUNvm5uqZ77ZA38YyuA9A4/lKirU+0pyh3ktCr2VWM+5lEiYuTnlPDOzjJSXEuRkxi2o3qJs+PcsNBiGZpBF3gbvety71PCrlfMzqtDhe3L0PGPAH1tohUzQNY3PKYCAXGVzrMzndbK7dzC6azio0IpP8Zg3cnKtLK/ESmHdF+GRHO6Dr38X1DnSE+IccvwVkrltpqZkbQ2NjWNG5rAAB5DRAYO0lNFJTvbOxr2aGzhxBBa4d4OvkvjaSyz6k28IrFVdtPl+1IQPOQ3d6C/osHephdZP15/Y2k1CTl0ivTZfchhhmJTvd9TjpYoMxaJ5SS45TlcRG0cHBwF99rreUVHkjFcnLmy1bJbGR0jjPLI6pqnNs6d+lh7kTBoxl+A3r6fC0oAgCAIAgCAIAgCAIAgCAIAgCAIAgCAIAgCAIAgCAIAgCAIAgCAIAgCAIAgCAh9qcLbUwOi6wRyAh8UnuSN1a63FvAji0uHFfMpH1Rb5I1oKxjpTBU2pKwe1HJ7EnAPiedHtNtCNeY0VK6sYV/i5MuWt9Uobc0SbMIm5MtzzG3yWY9Iq55o0f5tDHIClsC9kjJMhs/qyDkOh1seR4qO60udKnxweccxQ1GNSfDNYyTeC4mWHMNb+2zn95vevFjfum9+XVfuv3R8u7VTXz6P8AZlxgma9oc03B3FdNCcZxUovKZhyi4vD5novR8IXaV92sj95wv4cfgCqd9Pho479vf7ZLVnHNTi7t/b74K9ikxDrgX6thcBze7ssb4nUeap2UeOtn/qvu9vTJZuZcNHH/AGf2X+8FxwukEMMcQ1yMaL8yBqfM6rYMwykAQBAEAQBAEAQBAEAQBAEAQBAEAQBAEAQBAEAQBAEAQBAEAQBAEAQBAEAQH4TbUoDXO021z5HuigcWRg2Lho53geA+Kxr69llwpvHezf0/T48KqVVnPJFfY2+p1PMrElu8s2uSwjIfEyRojnjZNGD/AA5BcDmWne097bFTW97VoP4Xld3T/RRubSnXW637/wA5kzh/RdhE0Ye2GQNOpj66WwPK2ZdVSqxqwU48mcvVpypzcJc0ZWK7EClDajCY2xyxts+nuQypjGpY4m9pRc5XnjodCpDwYNFPHNGKmnzBlyJI3Cz4Xt0ex7d4sdCOHguc1PT3Tfb0fNfnQ17O84l2dQncKxExm41afab/APYd/wA1HY3/AGe/+PVd3zX5v4nu5tlPx6exYZMUiABzg3FwBcm3gNVuzvaEFlyXftvt4IzI29WXJfsQldUCSXML5QLC4tqfHw+Kzbq5jWkuHkvLd/n3LtCi6UXnm/RGBQRdbNEN4fKZCP8AlwWykf8Ay9V6lXNNjik5/wDZ/bkivey/qKHcv9l2WgUwUBqHbrpsjp3uhoWNne3R0zj+zB5NA1f43A8UBrWs6XsXkNxUiMcmRxgfFpPxQHvhvTLisRGeVkw92SNuvmwNKA3J0ddJ1PiX7JzepqQCerJuHgbzG7jb3Tr4gEoC+oAgCAIDFxSvZBDLPJfJGxz3WFzlaCTYcTYICkUPTFhksscTDNmke1jbx21cQ0XN91ygNgoAgCAIAgCAIAgCAIAgCAIAgCAIAgCAIAgCAIAgCAhtrakspn23u0+ZPwBC+SeE2eoR4pJPq0akplycjtyQYq7PjMiNRsjZY9nMYbACHhxB5W/U+K09P1KFvBwmnzzsZN7ZSrTU4tFkh2hgd9ojxaf0WnHV7R/5Y8UzNlYV10+5XdoKECU11A9hnsBPTlwDapg4G+6YD2X+R03WI31tPZVI/VEMrerHnFnnHJG5kc0OYMkBPVvaWuYQbFpad1jcW7uS5vUqdK1rRqUXtLoalpUnUi4zXIyIyOC9U3FxzHkyWSfU9mlSHgRSGJ3WsAvbtDm3ebd+l++ynoV3QlxLl1X7+PryI6lJVVwvn0f509C0wSh7Q5u4hdCnndGQ1jZmt+njad1LQtgidlkqSW3B1EbQOst43a3wcV9PhoPY7ZqXEKplNDYF1y553MYPaeR5gAcSQOKA6QwXonwuBgaacTO4yTEuJPPL7I8AEBE7a9DtFPC91HGKedoJZlJyPI+y5puBfmLHx3IDnbDq2SmnZLGS2SJ4cO5zTuPdwI8UB1NifSTQUwg+svfGZoWStAje4FrxpYtFt/BASGyu2dHiBkFJIXmPLmBY5ts2a1swF/ZO5AWFAUObpfwlrnNM7rgkG0Uh1BtvyoDG6QdvqFlHLA6R7ZKmjc+Jpjfq2Vr2svp2bkbjuQHOWztU2KrppXmzGTxPcbXs1sjXE2HcEB1lsrtlR4h1n1SQv6rLnuxzbZ82X2gL+yUBn47jlPRxGWplbEwcXbyd9mtGrj3AEoDXdZ074e11mRVEg94NYAfAOdf1CAkMC6ZsMqHBj3SU7juMzRl83tJA8TYIDYbHggEEEEXBG4g7iCgMXEcTigF5HWvuG8nwAUFe5pUFmbJ6FvUrPEEQx2zhv7ElufZ//Sz3rFLP6X9vcvfymrj9S+/sSmGY3DPox3a912h8ufkrtve0a+0Hv3FSvZ1aO8lt3kirRVIjEto4ISWklzhvazW3cTuv3KjX1GjRfC3l/Iu0LCtVXElhfMwo9soSdWSNHOwPyKrx1ii3umvp7k8tJqpbNP6k7R1jJW543Bw7uHcRvB7itKlWhVjxQeUZ9WlOlLhmsM/K2sjibmkcGjv49wG8lfKtaFKPFN4QpUp1ZcMFlkHJtlCDoyQjnYD5lZ0tYop7Rb+nuaMdJqtbtfcyKHamCQhpLmE7s409QSPVS0dUoVHh7P5+5FV02tBZW/gTi0TPIyix6CVxYxxuASbggADeblVKV9RqzcIvdfsW6tlWpx4pIwqra6Bps0Pf3tAt5EkXVapq1CLxHL8P9k9PS60ll4R64ftPBKQ25Y47g/cfMG3qpKGp0Kr4eT+fueK2nVqazzXyJtaBQMeuro4W5pHBo+J7gN5KirV4UY8U3glpUZ1ZcMFkgn7Zw30ZIRz7P9VmvWKSe0X9vc0FpNXG8l9/YkcMx+GY5WuId7rtCfDgfJW6F/RrPhi9+5lWvZVaKzJbd6JRXCoV3bnSBhPs9a0O/OHMb/nc0eaYzsE8PKNYtiLHFp3g2/3XK16TpycX0O0oVo1oKa6mYxVGSMyGKJkbJOmw6RwBBZ2hcNJINue5aVPSKlSmp5xkyampQjNxxyMkYbOP7u/gQoKmjXK5LP0C1Ckz66p49qOQflPzCoVdPuI84P6M9q5pS5MF6oum4PDRJHD3R+RTWOu5XbWtwPD5M+yhlGa1y1Su0erSvqPDJTZiS8Rb7p09SP0XQWbzQj+cjMu1itL85mj/AKR9UTX08fBlOHDxfI8H+QKyVyX+jTQi9bOQL/so2niAc7nDzsz0QG8kAQGE7CKc6mCEk8erb/RAaz+kHs8H0MVRG0A0z7EAWtFJZp0HJwZ4XKA1z0EYx1GKMYT2ahjoz4+2w+rbfmQG/ukDGPqmHVU97ObGQ38b+wz/ADOCA5Y2KwU1ldTU3B8gzdzG9p5/wgoDe/S10dxVLZa4yvYYKUhsbWjKREHvFydeNkBz3gtEJqiCEkgSSxsJG8B7w0keqA6h2A2Biwn6w5kz5BKGZs4AyiPOb6fjPogOdukLayTEaySZzj1QJbCzg2MbtPeda57z3BAXvY/oPfUQMmq5zCZGhzYmtu4Ai4zlx0NrHLbT5AVXpI6OpsKcx2cSwSEhsgFiHDXI9tzY21BvrY8kBevo97XvLn4dK4uaGl8BP2bHtx+GuYDhZ3NAXGuAmri2U2aZMvg1ugA5Xt8Vy9ZKte8NR7Zx5fnqdLSzSs1KC3xnzZcW4HTAW6mPzFz6nVbysbfGOBfQw3eV288bK1iuzsscwfStJGjhqOy4Hdqb2/qsi50+rTqqVutufg/M1be/p1KTjXe/LxRN7TYk6KC40e+zR3XFyfILR1C4dGhlbN7FCxt1VrYfJbkJsrgDJW9bKLtJIa3nbQk+elu5Z2nWEKse1qbrov3Zf1C+lTl2dPn1ZYKjZ2mc0jqw3vboR6fqtSen28ljhS8NjNhf14vPFnxKxghfTVnVG5aXZHcj7rvl6lY9px2112fRvD/ZmtdcFxbcfXn7oydoqKaeqDcj+rBa0OymwBsXOvu4/BTX1GtXuVHD4dlnp83+dxFZVaVG34sri3eOvyRPwbP0zRbqmnvcLk+ZWnDT7eKxwJ+O5mzvq8nniflsVzbDCIogx8Yy5iQW8N17jluWTqlpTpJTgsZ2wamm3VSq3Gbzgsmzc5fTRE6m1r/hJb+i17Cbnbxb/MbGXfQUK8kvzO5QaKnfJL1bDYvJB8L3N+7S9u5czTpyqVuzj1bXkdHVqRp0+OXT1L3S7OU7GgGMPPFz9Sf6eS6Onp1vCOOHPjuc7Uv683nix4EHtRs6xjDLCLAe0zhY6XF/ks7UNPhCHaU1jHNGhYX8py7Op5Mk9j8RMsRa43dGQLni0+z+o8lc0u4dWlwy5x9OhU1KgqdTijyfqV6YuravLezbkD7rG7yO8/MhZc3K9uuHO3ol7mnFRs7bON/VstsOz9M0W6pp73an1K242FvFY4F57mNK+uJPPE/IrW1OCNgyyxXa0usRf2XbwQd/D5LI1GyjQxUp7L0fyNXT7yVbNOpu/VFowGuM0DHn2tzvEaH13+a2bOv21FTfPr4oyLuj2NVxXLoe2KUDJ4ZIZASyRpabGx14g8CN4PAhWisahxBxp5BTYieqkGkVWRaKdvAl25r/AHmG1ju0IVe4toVlvzLNtd1KD+HkZ8WFyHVpY4e8Dp8lky0medmay1iLW6PGqraenIbK8TTG2Slh7b3uO4ZRrr32Cs2+lwg+Ke5TuNSnUXDHZE9TdHsVazr8VjJncQWxskcBAwezE0sIDjrdzuJPIBapmHo7ovjbrT12IQW3Bs5I82uCA/Dslisf8HFi4cp4GO9XDXzQH1iNVnc1x0cWNzjk+3aAI3ri9XqU6tzxU3nbD8Ub9jTnGliSMF7lnJF1IyqGov2Tv4LRt6mVwshq08boyamoyNJ47gOZO4Ky3jlzIVHPPkSuylwZGb+rbGCfvuzPcPGxafzLpqFPs6cYdyMOtU7So5d5pr6SFIRW00vB9Pl843uJ/wBQKUjJD6NWIgPracnVzY5Gj8Jc15/zMQG90AQFQl6TsKa5zXVbAWkg9mTeDY6hqAm66nirqN7L5oqiEgOsR2Xt7LgCLjeCgOQmmSiqxfSWnm3feif/AFCA3P0/7RtfQ0UUbtKgiY29xrRlB8TJf8iAj/o4YFmlqaxw0Y0RMP3nWc8+IaGj86A27t5/7bXf9NN/puQHKOyH9vo/+pg/1WIDrTa95bQ1ZbvFPLb/AAOQHIOBRB1TTtdq100YI7i9oPwQHagCAoPTpE12ETl29r4i3x6xrfkSgNH9DbyMYo7G13PB8Oqk0QHRW0GzPWvMkRAcfaa7cbC1weBWRe6Z2snUpvd80zVs9R7KPBNbEL1VfT7utsOXbb6a2Wfw31vyzj6r9y/xWVfnjP0f7GXh22DwbTtBHFzRYjxHH4Kehq808VV5r2IK2lRazSe/zPXbuS4gIN2nMQefs2+C96w8qDXLf9jzpMcOeee37k9s6B9Wht7g9TqfitOxx/Dwx3Izr3+4n4kirRVCAreO7TiJxjiaHPG8ncDy03lZN5qapS4ILL+xqWmnOrHjm8Ij21eJSey1zQfutb/Pqqqq6jU5JryS9S06VhT5tPzb9CPxyiqWta+ofmubBua9tL8NBu4KreUbiMVKvLPn+IsWla3lJxorHl+MtmyX9li/N/O5bem/20fP1Zjaj/cS8vRFb2OaPrTu5j7eoCytMS/in5+qNXU3/wAdeKL4ukOdMLGh+7z3/wCE/wDlKr3f9vPwfoT2v/7Q8V6lT2LcQZ7f8P4i9li6S/iqeHubOqJNQ8SKwN04efq4u/Lr7Ps3F/a032VGzddS/o88fLl5ly6VFx/rcs/Pn5E51uJ8j6RrS7TUu7/yZ/Dp/f8A+jwrYMQlbkkYXNuDb9mN27coq0b+rHgnHbyJKU7GlLig8PzJ7ZKjkihc2Rpac5IBtusOS0tMpVKVJxmsbmdqNWFSqpQedibWiUDHr6CKdhjmjZIw72PaHA+RQFNm6I8KLiRC9l97WSyAemb5ICf2e2SoqL+y07IzaxfYlxHIvdd1vNATRKAhqjaina6wLnd7Rp6nf5LNqarbwlw5z4F+GnV5LOMeJC43tCZexHcM4ni7+gWTqGpusuzpbR6vq/ZevgXrSw7P4qnP0IumizBz3uEcTAS+RxADQNTqdP6KvY6dK4eXtEku7uNFYW7Pp9C4tD4i2aNwu18ZBuDuOh18lPX0erB/BuiOjqMGvj2ZiyRSM7RY5trakW8FVlaVqUeOUWsFuFzSqS4E+Zkdc43kiZ1suW0UZcAOsuBYk7hY3vyB7lp6Z2cquZc+nj1KWoRnGnhcuvh09i6bN4UaaBrHuzyEl8snvSO1cQODeAHAADgugMQqHTbsq6toc8Tc01OS9rQLlzCLSMA52AdbjkA4oDnPZrHZqKpjqYDZ7DuO5wOjmuHEEIDoHBOm7DpWA1HWU8lu00sc8X+65gJI8QEBB7ddNsJhfDhwe6R4I69wyhgOhLGnUu5XAA367kBpzZfApa2qipogS57hc+637Tz3Aa/+UB2PR0zYo2RsFmsa1rR3NAA+AQHN/T7gPUYj17RZlSzP+dlmvH8p/MgKHiuMSVDadshuIIREz8Ic9w8+1byCA6n6L8C+p4bTREWe5vWSfjk7RB8BZv5UBIbcMLsOrQNSaab/AE3IDkjZ2qbFV00rzZjJ4nONibNbI1xNhruCA61w7HaPEY5o6eZkzcmWTLfQSBwF7jjY+iA5KxvDJaOplgkBbJE8i/hq1w7iLOHcQgOjNj+lygnp2fWZmwTtaBI14IBcBq5jrWINr23j5gUHpp6R4KyNtHRuL4w/NJLYgOLbhrGgi5AOt+OlkBifR8wB0tc6qLf2dOw2cR/ePGUAd4aXE8tOaA27SbQSsqTHO/sBzmnQC2vZNwN271WBTv6tO4cKz+HLXszcqWNOdup0lvhP3Lgx4IuCCDxC3k01lGI008MpO280RkYGWLwDnI8rAnnvXO6vOm6iUea5m/pUKig+Ll0MvHMPcaGA27UTWlw5AtAPpp6Ke8t5Ozg+sUvQgtK8VdzXSTfqe2x2KtMYhcQHtJy3+0Cb6d4vu8FJpd1F0+yk91y+aPGp20lPtYrZ8/kyw1VUyNpc9waBxJ+XMrUqVYU48U3hGZTpzqPhissp2GV0tRWAte8R5s2XMbBrdwIvbXT1WDb16txd5i3w5zjPRG5Xo06FrhpZxjOOrMPDHtbXXlsLSvuTwdd1ifNQW7jG8zU739dyeupStMU+5fTY2ETx4LqMnM4KRtlirJSyOMhwaSS4br2tYHiue1W6hVapwecG/pltOmnOaxksGyR/dY/zfzuWnpj/AONHz9WZuo/3EvL0RS8IrupqGyH2bkO8DofTf5LAt6/YXHG+WXnwN65o9tRcFz6GyIJ2vaHMcHA8QbrrITjNcUXlHLThKDxJYZAbX4s1sToWkF79CB9lvG/jut3rL1O7jGm6UXu/sjS021lKoqjWy+7PPYihLYnyOH8Q2H4W318yT6LzpFFxpub/AMvRHrVaydRQXT1ZB0Epo6sh98oJafwnc4fArNoy/g7rEuS28n1NCtH+Ltsx5vfz7i/wTNeA5jg4HcQbrqITjNcUXlHNyhKDxJYZXtqNoOrAZC8Z79oixyjkb6XP6LK1C/7LEKT+Lr8jTsLHtMyqLbp8yWwN0hhY6Y3e4XOgFgdwsO6yvWjqOjF1ObKV0qaqtU+SM9WSuEAQBAQO2FUWQkA2zb/C4H6qpfycbebX5nYt2MVK4in+YKC165Bo6lozMPjD32cSGgEm3IC9lbsLeNauoS5c/oUr6q6VFyjzM/Cdn5MQyS1kZio2kGGiOhktq2SpHLiIvXkuujFRWIrY5ltt5ZkVnRpAHmShnqKFxNy2B37MnmYndnyFgvp8MOXBKmjLTU1j6uCYiJ2djW9U538J4LTuL+x4vZ3rzOCnFxlyZ6hJwkpLmiNilMUhaTax1PIjc7/vgSuUxO2rY6pnVrhuaKl3r/6jZWEVolia7juPiN66qnUVSCkupy1Wm6c3B9DNXsjNY7ddDlNWPdPTu+rTOJLgBeN5O8lu9pPMeNroDW9T0HYm0kNNO8cxIR8HNCAzcK6B617h9Ymhibxy5nu8hYD4oDcmxWxFLhsZbA0l7vbmfq93dfg37o0QFlQGs/pAYWyXDOuJAfBIxzTzDz1bm+eYH8oQGjujfAvrmI00JF2Z88n4Gdp1+42y+aA69CA+Jog5pa4Xa4EEHiCLEIDRmM9AUnWONLVMEZN2tla67RyzNve3OwQF06J+j+XCvrJlljk64RWyB2mTrL3v+P4IDO6QejmmxMB7iYp2izZmi9xwa9v2m+hHNAairOgrEWutG+nkbwdnc31Bb+qAkcC6BahzgaueONnFsV3OPcC4Bo8dfBAbv2fwSCjgZT07AyNvDiSd7nHi480Bj43s8yoOa+R/vAXvyzD9Vn3enwuHxZxLv9y9a386C4eaIL/0bMNBIy35vlZZ38nqrZTWPM0f5tSfOL+xJYVskyNwdI7rCNzbWbfv5q1baTCm1Kby/sVLjVJ1FwwWPUsZF9Ctd7mWngq2I7HNcSYX5b/YcLgeB3gLFr6PGTzTePl0NihqzisVFn5mJHsXIT25WAdwJPxsoY6NNv4pImlq8Evhiyz4ThUdO3Kwan2nHef9u5a9ta07eOIebMm4uZ15Zl9COxzZlszjIx2R536XB7zyPeqt5psa8uOLw/sy1aajKjHgksoio9jZTo6Vob3An4GwVJaPUe0prHmW3q1PnGLz5Eu7ZeHqTE24cbHrDqbjd5dyvPTKXZOmub69SktSq9qpvl3HngGzrqeQvMgcMpFgCN9td/cvFlp0repxuWfI93l/GvT4FHBXtmqRks72PF2lj/m3UcisyxpRq3EoTWVh+qNK+qyp0VKL3yiQn2NeCeqlFvvAg+ZG9WpaPNP+nP6/6K0NWi18cfp/s9sP2NAIMz8wH2WiwPid9l7oaOovNR5XcjxW1ZtYprHzZa2NAAAFgNABwC2kklhGO228sjcawSOoAzXa8bnj5EcQql1ZU7hb7PvLVreToPbddxW3bGyg9mRlufaHwsVkvR6qe0l9zUWrUmt4v7ElhOyTI3B0rusI3NtZt+/mrdtpMKbUpvPoVbjVJ1FwwWPUsq1zKCAIAgCAqHSBOIhFLLpTm8cr+EZeW9XI48G5hlvwLm8F4nBTi4y5M9Qm4SUlzRV3YdKPZAe07nNIsRwOpXP1NKqqXw7o36eq0nH4tme9NeOSOFpDqmchrWNN+rjuOsldyDW3N+JAA3rSsbH+HzKXNmbe3vbtJckbQWiUAgMXFKFk8MkMnsvaWm28X4g8CDqDwICA1bimbLeS3XRuMUw3Xc0XDwOTmkOHc4LI1SgniovA29HrPidLpzPjDNqpqYER5Tf3wTu8CFVt7qpSjwo0LjT6VafHLPkS+H9Jbg4CoiBbxdHe4/K46+qv0r9t/GvoUa2kLGact+5+5sDD66OaNskTg9jtxHyPI9y0YyUllGJOEoScZLDRkL6eQgCAj9oal0VLUyMNnshlc077OaxxBsdN4QHJ+023FdXtayqmL2NNwwBrW317RDQLnU70Bt76PuyMkLJa6dhY6VoZEHCx6u+Zz7Hg4htu5t9xCA3EgCAIAgCAIAgCAIAgCAIAgCAIAgCAIAgKHsb/AGp34H/Nq5rTH/y34P1R0Wp/268UXxdKc6EAQBAEAQBAEAQBAEB51EDZGOY9oexwIc1wBDgRYgg6EEICiz9FVMHfu9TWUrCbmKGY5NeQcDb1QFh2Y2RpaEO6hhL3+3NI4ukf+J51t3DRATqAID8c6wJO4IDTe1uKGWokO4A2A8AN/fuHksK9m51mui2Oo0yiqdBS6y39ivSyquol8xHvupUgW/o0xt0NR1RP7OQgW5OOgPqQPMrQsp7uHmYur0ViNVc+TNxLQMIIAgPmSMOBa4Aggggi4IOhBHJAR8OAUjSHNpoGkbiImAjwICAkkAQBAEAQBAEAQBAEAQBAEAQBAEAQBAEAQBAEAQBAEAQBAEAQBAEAQBAEAQBAEBh4xLlgmdyjcfgUBozHSWzyD71/XVYlxDFWR1ljNSt4Y7sfQjHOuoi0fK+gzsFeWzMcN4c23jmbb4q5ZL+o38jL1eaVFR736ZOhlpnOhAEAQBAEAQBAEAQBAEAQBAEAQBAEAQBAEAQBAEAQBAEAQBAEAQBAEAQBAEAQBAEAQBAEB5VMDZGOY7VrmlpHc4WPwKA0ZjFK7rHwS6VEHZdf+8Z9iVvMOGvcbjgqtzb9p8UeZoWN72D4ZfpZCvaRodFmOEk8NHQwr05rKZ+AX3L1ClKbwkeKt1SprLZPbC4aamujjaLshc2Wd3BuU5o2X95zwNPdDlrUaSpxx1Oau7l158T5dDeqlKwQBAEAQBAEAQBAEAQBAEAQBAEAQBAEAQBAEAQBAEAQBAEAQBAEAQBAEAQBAEAQBAEAQBAEBXNsNj4K9rc5dFMz+HPHo9nMfeYeLT8EBreu2AxeM2Yaapbwdcxu8XNOg8ij35n1NrkfeHdGWIzEfWZYaaPiIbvkPcCRlHjqh8e/M2ps5s/BRQiGnZlbe5J1c9x3ve7i480BKIAgCAIAgCAIAgCAIAgCAIAgCAIAgCAIAgCAIAgCAIAgCAIAgCAIAgCA/9k="/>
          <p:cNvSpPr>
            <a:spLocks noChangeAspect="1" noChangeArrowheads="1"/>
          </p:cNvSpPr>
          <p:nvPr/>
        </p:nvSpPr>
        <p:spPr bwMode="auto">
          <a:xfrm>
            <a:off x="155575" y="-1150938"/>
            <a:ext cx="6667500" cy="2409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5" name="AutoShape 49" descr="data:image/jpeg;base64,/9j/4AAQSkZJRgABAQAAAQABAAD/2wCEAAkGBxMTEhMTEhQVFRUXFhgbGBUWGRoeHxoaGBgXFxgYGBgZHSogHxolGxgaIjIhJSkvLi4wGh8zODMtNygtLisBCgoKDg0OGxAQGy8mICY3LjAyMzIyLS0xMi0tLy0tNS0yKy0tLTAvLzUtLS8tLzUvLy0tLS0tLS8tLS0tLS0tLf/AABEIAIcBdgMBEQACEQEDEQH/xAAcAAEAAgMBAQEAAAAAAAAAAAAABQYEBwgDAgH/xABHEAABAwIDBAcEBwUGBQUAAAABAAIDBBEFEiEGMUFRBxMiYXGBkTJSobEIFEJicoLBIyQzstE0Q5Kis+FTY3Tw8RY1g8LS/8QAGgEBAAMBAQEAAAAAAAAAAAAAAAMEBQYCAf/EADYRAAIBAwIDBgUCBgMBAQAAAAABAgMEEQUhEjFBE1FxgbHRImGRofAywRQVIzRC4SRSsvEz/9oADAMBAAIRAxEAPwDeKAIAgCAIAgCAIAgPKrqWRsdJI4NY0Xc4mwARvB9SbeEQQxqeXWGNsbDufMDmd3iIEED8Tge5VnXz+ktq3jH9b37l7+2T9+uVbdbwSfdyvj9HZnfJFVkHSpPvX0fsZ2EY2ycuZYxzMsXxPtmAO5wto5h94aKaE1LkQVaMqfPk+TJNeyIIAgCAIAgCAIAgCAIAgCAIAgCAIAgCAIAgCAIAgCAIAgCAIAgCAIAgCAIAgCAID465t8uYX5XF/RfMo+4fM+19PgQBAEBUsef19WyE/wAKIdY5vBzxbKD3DNfyKq3U8YiXLWOFKfXkvPn9tvMzwVWTJD6BUiZ5aITauNzWNqotJadwcDzYSGvYfukG/kvaliSZ6iuKLg+vqvzHmW+gqhLGyRu57Q4eYvZXDPMhAEAQBAEAQBAEAQBAEAQBAEAQBAEAQBAEAQBAEAQBAEAQBAEAQBAEAQBAEB5VVQ2NjnvNmtFyUBQotoPrr3gvcxgPZhaS3M33nuGrvw7hxusS5vJTeIPCNynZdhFSksv0+X+/oZTcNgtbqYrcsjf6Kjk99pPPN/UyIJ5KftRkuYPahJJFuJjvq0jluPJXaF5Km/i3RBUoxq/J9/v7k4NoICAWvz3G5gLj4HKNPNacryiv8s+G/oUFZ1nzjjx29Twkxt5/hxW75HAfBt/0UEr9f4x+v4yZWcV+qX0XvgxJquZwu+bIP+W0NH+J1z6WUMrqo+uPz5ksaNJbRjnx39MGBR1NOJMrHh0j95LnOJtrq4k+ihVVSfPJNOnUUd1hLwX2JQFTJlc+gV7TPLRD7X1IbSvbxkLWNHMuIv6NBPkvec4Xee6Sw3LuTf55k5sWf3KHuDh6PcFoGYTaAIAgCAIAgCAIAgCAIAgCAIAgCAIAgCAIAgCAIAgCAIAgCAIAgCAIAgCAICo9JFQRThg+0ST4Cw+br+Sr3UuGjJ/m5bsIqVxBPv8ATc1xTMIIIJBG4jgublI63Cawy5YRifWDK7R/z7x39yRmmZte34N1yJZpXsqkdNib8xbHE51ja50Gimp0qtT9ERN0ofrkYVdWysbmnnhp28yQPi4/qrkNPqv9UsFeV7Sj+mOfH8/Yrk20NE5xax1RXSD7EDHv+I0+Ksw0+it3uQz1Cs1iOy+RmQVL8zGT0clD1h/d5JMt3SN1yOtq11twdvs625TVLWnOHClgipXVSE+JvPy+RccKrHvY4ytDSwkEg6GwBJWYuKLcZc0X5xi8OHJmLNtRTtHZLnng1rTr62X1Vk+R6/h5L9TS8/YrON1ssj2Oe28rzkpqccXO4u7gNXO4AFX7ejLPHPyRTuK8eHs6fLq+/wD0bUwagEEEUIN8jACeZA7TvM3PmrZRM1AEAQBAEAQBAEAQBAEAQBAEAQBAEAQBAEAQBAEAQBAEAQBAEAQBAEAQBAEBUNvm5uqZ77ZA38YyuA9A4/lKirU+0pyh3ktCr2VWM+5lEiYuTnlPDOzjJSXEuRkxi2o3qJs+PcsNBiGZpBF3gbvety71PCrlfMzqtDhe3L0PGPAH1tohUzQNY3PKYCAXGVzrMzndbK7dzC6azio0IpP8Zg3cnKtLK/ESmHdF+GRHO6Dr38X1DnSE+IccvwVkrltpqZkbQ2NjWNG5rAAB5DRAYO0lNFJTvbOxr2aGzhxBBa4d4OvkvjaSyz6k28IrFVdtPl+1IQPOQ3d6C/osHephdZP15/Y2k1CTl0ivTZfchhhmJTvd9TjpYoMxaJ5SS45TlcRG0cHBwF99rreUVHkjFcnLmy1bJbGR0jjPLI6pqnNs6d+lh7kTBoxl+A3r6fC0oAgCAIAgCAIAgCAIAgCAIAgCAIAgCAIAgCAIAgCAIAgCAIAgCAIAgCAIAgCAh9qcLbUwOi6wRyAh8UnuSN1a63FvAji0uHFfMpH1Rb5I1oKxjpTBU2pKwe1HJ7EnAPiedHtNtCNeY0VK6sYV/i5MuWt9Uobc0SbMIm5MtzzG3yWY9Iq55o0f5tDHIClsC9kjJMhs/qyDkOh1seR4qO60udKnxweccxQ1GNSfDNYyTeC4mWHMNb+2zn95vevFjfum9+XVfuv3R8u7VTXz6P8AZlxgma9oc03B3FdNCcZxUovKZhyi4vD5novR8IXaV92sj95wv4cfgCqd9Pho479vf7ZLVnHNTi7t/b74K9ikxDrgX6thcBze7ssb4nUeap2UeOtn/qvu9vTJZuZcNHH/AGf2X+8FxwukEMMcQ1yMaL8yBqfM6rYMwykAQBAEAQBAEAQBAEAQBAEAQBAEAQBAEAQBAEAQBAEAQBAEAQBAEAQBAEAQH4TbUoDXO021z5HuigcWRg2Lho53geA+Kxr69llwpvHezf0/T48KqVVnPJFfY2+p1PMrElu8s2uSwjIfEyRojnjZNGD/AA5BcDmWne097bFTW97VoP4Xld3T/RRubSnXW637/wA5kzh/RdhE0Ye2GQNOpj66WwPK2ZdVSqxqwU48mcvVpypzcJc0ZWK7EClDajCY2xyxts+nuQypjGpY4m9pRc5XnjodCpDwYNFPHNGKmnzBlyJI3Cz4Xt0ex7d4sdCOHguc1PT3Tfb0fNfnQ17O84l2dQncKxExm41afab/APYd/wA1HY3/AGe/+PVd3zX5v4nu5tlPx6exYZMUiABzg3FwBcm3gNVuzvaEFlyXftvt4IzI29WXJfsQldUCSXML5QLC4tqfHw+Kzbq5jWkuHkvLd/n3LtCi6UXnm/RGBQRdbNEN4fKZCP8AlwWykf8Ay9V6lXNNjik5/wDZ/bkivey/qKHcv9l2WgUwUBqHbrpsjp3uhoWNne3R0zj+zB5NA1f43A8UBrWs6XsXkNxUiMcmRxgfFpPxQHvhvTLisRGeVkw92SNuvmwNKA3J0ddJ1PiX7JzepqQCerJuHgbzG7jb3Tr4gEoC+oAgCAIDFxSvZBDLPJfJGxz3WFzlaCTYcTYICkUPTFhksscTDNmke1jbx21cQ0XN91ygNgoAgCAIAgCAIAgCAIAgCAIAgCAIAgCAIAgCAIAgCAhtrakspn23u0+ZPwBC+SeE2eoR4pJPq0akplycjtyQYq7PjMiNRsjZY9nMYbACHhxB5W/U+K09P1KFvBwmnzzsZN7ZSrTU4tFkh2hgd9ojxaf0WnHV7R/5Y8UzNlYV10+5XdoKECU11A9hnsBPTlwDapg4G+6YD2X+R03WI31tPZVI/VEMrerHnFnnHJG5kc0OYMkBPVvaWuYQbFpad1jcW7uS5vUqdK1rRqUXtLoalpUnUi4zXIyIyOC9U3FxzHkyWSfU9mlSHgRSGJ3WsAvbtDm3ebd+l++ynoV3QlxLl1X7+PryI6lJVVwvn0f509C0wSh7Q5u4hdCnndGQ1jZmt+njad1LQtgidlkqSW3B1EbQOst43a3wcV9PhoPY7ZqXEKplNDYF1y553MYPaeR5gAcSQOKA6QwXonwuBgaacTO4yTEuJPPL7I8AEBE7a9DtFPC91HGKedoJZlJyPI+y5puBfmLHx3IDnbDq2SmnZLGS2SJ4cO5zTuPdwI8UB1NifSTQUwg+svfGZoWStAje4FrxpYtFt/BASGyu2dHiBkFJIXmPLmBY5ts2a1swF/ZO5AWFAUObpfwlrnNM7rgkG0Uh1BtvyoDG6QdvqFlHLA6R7ZKmjc+Jpjfq2Vr2svp2bkbjuQHOWztU2KrppXmzGTxPcbXs1sjXE2HcEB1lsrtlR4h1n1SQv6rLnuxzbZ82X2gL+yUBn47jlPRxGWplbEwcXbyd9mtGrj3AEoDXdZ074e11mRVEg94NYAfAOdf1CAkMC6ZsMqHBj3SU7juMzRl83tJA8TYIDYbHggEEEEXBG4g7iCgMXEcTigF5HWvuG8nwAUFe5pUFmbJ6FvUrPEEQx2zhv7ElufZ//Sz3rFLP6X9vcvfymrj9S+/sSmGY3DPox3a912h8ufkrtve0a+0Hv3FSvZ1aO8lt3kirRVIjEto4ISWklzhvazW3cTuv3KjX1GjRfC3l/Iu0LCtVXElhfMwo9soSdWSNHOwPyKrx1ii3umvp7k8tJqpbNP6k7R1jJW543Bw7uHcRvB7itKlWhVjxQeUZ9WlOlLhmsM/K2sjibmkcGjv49wG8lfKtaFKPFN4QpUp1ZcMFlkHJtlCDoyQjnYD5lZ0tYop7Rb+nuaMdJqtbtfcyKHamCQhpLmE7s409QSPVS0dUoVHh7P5+5FV02tBZW/gTi0TPIyix6CVxYxxuASbggADeblVKV9RqzcIvdfsW6tlWpx4pIwqra6Bps0Pf3tAt5EkXVapq1CLxHL8P9k9PS60ll4R64ftPBKQ25Y47g/cfMG3qpKGp0Kr4eT+fueK2nVqazzXyJtaBQMeuro4W5pHBo+J7gN5KirV4UY8U3glpUZ1ZcMFkgn7Zw30ZIRz7P9VmvWKSe0X9vc0FpNXG8l9/YkcMx+GY5WuId7rtCfDgfJW6F/RrPhi9+5lWvZVaKzJbd6JRXCoV3bnSBhPs9a0O/OHMb/nc0eaYzsE8PKNYtiLHFp3g2/3XK16TpycX0O0oVo1oKa6mYxVGSMyGKJkbJOmw6RwBBZ2hcNJINue5aVPSKlSmp5xkyampQjNxxyMkYbOP7u/gQoKmjXK5LP0C1Ckz66p49qOQflPzCoVdPuI84P6M9q5pS5MF6oum4PDRJHD3R+RTWOu5XbWtwPD5M+yhlGa1y1Su0erSvqPDJTZiS8Rb7p09SP0XQWbzQj+cjMu1itL85mj/AKR9UTX08fBlOHDxfI8H+QKyVyX+jTQi9bOQL/so2niAc7nDzsz0QG8kAQGE7CKc6mCEk8erb/RAaz+kHs8H0MVRG0A0z7EAWtFJZp0HJwZ4XKA1z0EYx1GKMYT2ahjoz4+2w+rbfmQG/ukDGPqmHVU97ObGQ38b+wz/ADOCA5Y2KwU1ldTU3B8gzdzG9p5/wgoDe/S10dxVLZa4yvYYKUhsbWjKREHvFydeNkBz3gtEJqiCEkgSSxsJG8B7w0keqA6h2A2Biwn6w5kz5BKGZs4AyiPOb6fjPogOdukLayTEaySZzj1QJbCzg2MbtPeda57z3BAXvY/oPfUQMmq5zCZGhzYmtu4Ai4zlx0NrHLbT5AVXpI6OpsKcx2cSwSEhsgFiHDXI9tzY21BvrY8kBevo97XvLn4dK4uaGl8BP2bHtx+GuYDhZ3NAXGuAmri2U2aZMvg1ugA5Xt8Vy9ZKte8NR7Zx5fnqdLSzSs1KC3xnzZcW4HTAW6mPzFz6nVbysbfGOBfQw3eV288bK1iuzsscwfStJGjhqOy4Hdqb2/qsi50+rTqqVutufg/M1be/p1KTjXe/LxRN7TYk6KC40e+zR3XFyfILR1C4dGhlbN7FCxt1VrYfJbkJsrgDJW9bKLtJIa3nbQk+elu5Z2nWEKse1qbrov3Zf1C+lTl2dPn1ZYKjZ2mc0jqw3vboR6fqtSen28ljhS8NjNhf14vPFnxKxghfTVnVG5aXZHcj7rvl6lY9px2112fRvD/ZmtdcFxbcfXn7oydoqKaeqDcj+rBa0OymwBsXOvu4/BTX1GtXuVHD4dlnp83+dxFZVaVG34sri3eOvyRPwbP0zRbqmnvcLk+ZWnDT7eKxwJ+O5mzvq8nniflsVzbDCIogx8Yy5iQW8N17jluWTqlpTpJTgsZ2wamm3VSq3Gbzgsmzc5fTRE6m1r/hJb+i17Cbnbxb/MbGXfQUK8kvzO5QaKnfJL1bDYvJB8L3N+7S9u5czTpyqVuzj1bXkdHVqRp0+OXT1L3S7OU7GgGMPPFz9Sf6eS6Onp1vCOOHPjuc7Uv683nix4EHtRs6xjDLCLAe0zhY6XF/ks7UNPhCHaU1jHNGhYX8py7Op5Mk9j8RMsRa43dGQLni0+z+o8lc0u4dWlwy5x9OhU1KgqdTijyfqV6YuravLezbkD7rG7yO8/MhZc3K9uuHO3ol7mnFRs7bON/VstsOz9M0W6pp73an1K242FvFY4F57mNK+uJPPE/IrW1OCNgyyxXa0usRf2XbwQd/D5LI1GyjQxUp7L0fyNXT7yVbNOpu/VFowGuM0DHn2tzvEaH13+a2bOv21FTfPr4oyLuj2NVxXLoe2KUDJ4ZIZASyRpabGx14g8CN4PAhWisahxBxp5BTYieqkGkVWRaKdvAl25r/AHmG1ju0IVe4toVlvzLNtd1KD+HkZ8WFyHVpY4e8Dp8lky0medmay1iLW6PGqraenIbK8TTG2Slh7b3uO4ZRrr32Cs2+lwg+Ke5TuNSnUXDHZE9TdHsVazr8VjJncQWxskcBAwezE0sIDjrdzuJPIBapmHo7ovjbrT12IQW3Bs5I82uCA/Dslisf8HFi4cp4GO9XDXzQH1iNVnc1x0cWNzjk+3aAI3ri9XqU6tzxU3nbD8Ub9jTnGliSMF7lnJF1IyqGov2Tv4LRt6mVwshq08boyamoyNJ47gOZO4Ky3jlzIVHPPkSuylwZGb+rbGCfvuzPcPGxafzLpqFPs6cYdyMOtU7So5d5pr6SFIRW00vB9Pl843uJ/wBQKUjJD6NWIgPracnVzY5Gj8Jc15/zMQG90AQFQl6TsKa5zXVbAWkg9mTeDY6hqAm66nirqN7L5oqiEgOsR2Xt7LgCLjeCgOQmmSiqxfSWnm3feif/AFCA3P0/7RtfQ0UUbtKgiY29xrRlB8TJf8iAj/o4YFmlqaxw0Y0RMP3nWc8+IaGj86A27t5/7bXf9NN/puQHKOyH9vo/+pg/1WIDrTa95bQ1ZbvFPLb/AAOQHIOBRB1TTtdq100YI7i9oPwQHagCAoPTpE12ETl29r4i3x6xrfkSgNH9DbyMYo7G13PB8Oqk0QHRW0GzPWvMkRAcfaa7cbC1weBWRe6Z2snUpvd80zVs9R7KPBNbEL1VfT7utsOXbb6a2Wfw31vyzj6r9y/xWVfnjP0f7GXh22DwbTtBHFzRYjxHH4Kehq808VV5r2IK2lRazSe/zPXbuS4gIN2nMQefs2+C96w8qDXLf9jzpMcOeee37k9s6B9Wht7g9TqfitOxx/Dwx3Izr3+4n4kirRVCAreO7TiJxjiaHPG8ncDy03lZN5qapS4ILL+xqWmnOrHjm8Ij21eJSey1zQfutb/Pqqqq6jU5JryS9S06VhT5tPzb9CPxyiqWta+ofmubBua9tL8NBu4KreUbiMVKvLPn+IsWla3lJxorHl+MtmyX9li/N/O5bem/20fP1Zjaj/cS8vRFb2OaPrTu5j7eoCytMS/in5+qNXU3/wAdeKL4ukOdMLGh+7z3/wCE/wDlKr3f9vPwfoT2v/7Q8V6lT2LcQZ7f8P4i9li6S/iqeHubOqJNQ8SKwN04efq4u/Lr7Ps3F/a032VGzddS/o88fLl5ly6VFx/rcs/Pn5E51uJ8j6RrS7TUu7/yZ/Dp/f8A+jwrYMQlbkkYXNuDb9mN27coq0b+rHgnHbyJKU7GlLig8PzJ7ZKjkihc2Rpac5IBtusOS0tMpVKVJxmsbmdqNWFSqpQedibWiUDHr6CKdhjmjZIw72PaHA+RQFNm6I8KLiRC9l97WSyAemb5ICf2e2SoqL+y07IzaxfYlxHIvdd1vNATRKAhqjaina6wLnd7Rp6nf5LNqarbwlw5z4F+GnV5LOMeJC43tCZexHcM4ni7+gWTqGpusuzpbR6vq/ZevgXrSw7P4qnP0IumizBz3uEcTAS+RxADQNTqdP6KvY6dK4eXtEku7uNFYW7Pp9C4tD4i2aNwu18ZBuDuOh18lPX0erB/BuiOjqMGvj2ZiyRSM7RY5trakW8FVlaVqUeOUWsFuFzSqS4E+Zkdc43kiZ1suW0UZcAOsuBYk7hY3vyB7lp6Z2cquZc+nj1KWoRnGnhcuvh09i6bN4UaaBrHuzyEl8snvSO1cQODeAHAADgugMQqHTbsq6toc8Tc01OS9rQLlzCLSMA52AdbjkA4oDnPZrHZqKpjqYDZ7DuO5wOjmuHEEIDoHBOm7DpWA1HWU8lu00sc8X+65gJI8QEBB7ddNsJhfDhwe6R4I69wyhgOhLGnUu5XAA367kBpzZfApa2qipogS57hc+637Tz3Aa/+UB2PR0zYo2RsFmsa1rR3NAA+AQHN/T7gPUYj17RZlSzP+dlmvH8p/MgKHiuMSVDadshuIIREz8Ic9w8+1byCA6n6L8C+p4bTREWe5vWSfjk7RB8BZv5UBIbcMLsOrQNSaab/AE3IDkjZ2qbFV00rzZjJ4nONibNbI1xNhruCA61w7HaPEY5o6eZkzcmWTLfQSBwF7jjY+iA5KxvDJaOplgkBbJE8i/hq1w7iLOHcQgOjNj+lygnp2fWZmwTtaBI14IBcBq5jrWINr23j5gUHpp6R4KyNtHRuL4w/NJLYgOLbhrGgi5AOt+OlkBifR8wB0tc6qLf2dOw2cR/ePGUAd4aXE8tOaA27SbQSsqTHO/sBzmnQC2vZNwN271WBTv6tO4cKz+HLXszcqWNOdup0lvhP3Lgx4IuCCDxC3k01lGI008MpO280RkYGWLwDnI8rAnnvXO6vOm6iUea5m/pUKig+Ll0MvHMPcaGA27UTWlw5AtAPpp6Ke8t5Ozg+sUvQgtK8VdzXSTfqe2x2KtMYhcQHtJy3+0Cb6d4vu8FJpd1F0+yk91y+aPGp20lPtYrZ8/kyw1VUyNpc9waBxJ+XMrUqVYU48U3hGZTpzqPhissp2GV0tRWAte8R5s2XMbBrdwIvbXT1WDb16txd5i3w5zjPRG5Xo06FrhpZxjOOrMPDHtbXXlsLSvuTwdd1ifNQW7jG8zU739dyeupStMU+5fTY2ETx4LqMnM4KRtlirJSyOMhwaSS4br2tYHiue1W6hVapwecG/pltOmnOaxksGyR/dY/zfzuWnpj/AONHz9WZuo/3EvL0RS8IrupqGyH2bkO8DofTf5LAt6/YXHG+WXnwN65o9tRcFz6GyIJ2vaHMcHA8QbrrITjNcUXlHLThKDxJYZAbX4s1sToWkF79CB9lvG/jut3rL1O7jGm6UXu/sjS021lKoqjWy+7PPYihLYnyOH8Q2H4W318yT6LzpFFxpub/AMvRHrVaydRQXT1ZB0Epo6sh98oJafwnc4fArNoy/g7rEuS28n1NCtH+Ltsx5vfz7i/wTNeA5jg4HcQbrqITjNcUXlHNyhKDxJYZXtqNoOrAZC8Z79oixyjkb6XP6LK1C/7LEKT+Lr8jTsLHtMyqLbp8yWwN0hhY6Y3e4XOgFgdwsO6yvWjqOjF1ObKV0qaqtU+SM9WSuEAQBAQO2FUWQkA2zb/C4H6qpfycbebX5nYt2MVK4in+YKC165Bo6lozMPjD32cSGgEm3IC9lbsLeNauoS5c/oUr6q6VFyjzM/Cdn5MQyS1kZio2kGGiOhktq2SpHLiIvXkuujFRWIrY5ltt5ZkVnRpAHmShnqKFxNy2B37MnmYndnyFgvp8MOXBKmjLTU1j6uCYiJ2djW9U538J4LTuL+x4vZ3rzOCnFxlyZ6hJwkpLmiNilMUhaTax1PIjc7/vgSuUxO2rY6pnVrhuaKl3r/6jZWEVolia7juPiN66qnUVSCkupy1Wm6c3B9DNXsjNY7ddDlNWPdPTu+rTOJLgBeN5O8lu9pPMeNroDW9T0HYm0kNNO8cxIR8HNCAzcK6B617h9Ymhibxy5nu8hYD4oDcmxWxFLhsZbA0l7vbmfq93dfg37o0QFlQGs/pAYWyXDOuJAfBIxzTzDz1bm+eYH8oQGjujfAvrmI00JF2Z88n4Gdp1+42y+aA69CA+Jog5pa4Xa4EEHiCLEIDRmM9AUnWONLVMEZN2tla67RyzNve3OwQF06J+j+XCvrJlljk64RWyB2mTrL3v+P4IDO6QejmmxMB7iYp2izZmi9xwa9v2m+hHNAairOgrEWutG+nkbwdnc31Bb+qAkcC6BahzgaueONnFsV3OPcC4Bo8dfBAbv2fwSCjgZT07AyNvDiSd7nHi480Bj43s8yoOa+R/vAXvyzD9Vn3enwuHxZxLv9y9a386C4eaIL/0bMNBIy35vlZZ38nqrZTWPM0f5tSfOL+xJYVskyNwdI7rCNzbWbfv5q1baTCm1Kby/sVLjVJ1FwwWPUsZF9Ctd7mWngq2I7HNcSYX5b/YcLgeB3gLFr6PGTzTePl0NihqzisVFn5mJHsXIT25WAdwJPxsoY6NNv4pImlq8Evhiyz4ThUdO3Kwan2nHef9u5a9ta07eOIebMm4uZ15Zl9COxzZlszjIx2R536XB7zyPeqt5psa8uOLw/sy1aajKjHgksoio9jZTo6Vob3An4GwVJaPUe0prHmW3q1PnGLz5Eu7ZeHqTE24cbHrDqbjd5dyvPTKXZOmub69SktSq9qpvl3HngGzrqeQvMgcMpFgCN9td/cvFlp0repxuWfI93l/GvT4FHBXtmqRks72PF2lj/m3UcisyxpRq3EoTWVh+qNK+qyp0VKL3yiQn2NeCeqlFvvAg+ZG9WpaPNP+nP6/6K0NWi18cfp/s9sP2NAIMz8wH2WiwPid9l7oaOovNR5XcjxW1ZtYprHzZa2NAAAFgNABwC2kklhGO228sjcawSOoAzXa8bnj5EcQql1ZU7hb7PvLVreToPbddxW3bGyg9mRlufaHwsVkvR6qe0l9zUWrUmt4v7ElhOyTI3B0rusI3NtZt+/mrdtpMKbUpvPoVbjVJ1FwwWPUsq1zKCAIAgCAqHSBOIhFLLpTm8cr+EZeW9XI48G5hlvwLm8F4nBTi4y5M9Qm4SUlzRV3YdKPZAe07nNIsRwOpXP1NKqqXw7o36eq0nH4tme9NeOSOFpDqmchrWNN+rjuOsldyDW3N+JAA3rSsbH+HzKXNmbe3vbtJckbQWiUAgMXFKFk8MkMnsvaWm28X4g8CDqDwICA1bimbLeS3XRuMUw3Xc0XDwOTmkOHc4LI1SgniovA29HrPidLpzPjDNqpqYER5Tf3wTu8CFVt7qpSjwo0LjT6VafHLPkS+H9Jbg4CoiBbxdHe4/K46+qv0r9t/GvoUa2kLGact+5+5sDD66OaNskTg9jtxHyPI9y0YyUllGJOEoScZLDRkL6eQgCAj9oal0VLUyMNnshlc077OaxxBsdN4QHJ+023FdXtayqmL2NNwwBrW317RDQLnU70Bt76PuyMkLJa6dhY6VoZEHCx6u+Zz7Hg4htu5t9xCA3EgCAIAgCAIAgCAIAgCAIAgCAIAgCAIAgKHsb/AGp34H/Nq5rTH/y34P1R0Wp/268UXxdKc6EAQBAEAQBAEAQBAEB51EDZGOY9oexwIc1wBDgRYgg6EEICiz9FVMHfu9TWUrCbmKGY5NeQcDb1QFh2Y2RpaEO6hhL3+3NI4ukf+J51t3DRATqAID8c6wJO4IDTe1uKGWokO4A2A8AN/fuHksK9m51mui2Oo0yiqdBS6y39ivSyquol8xHvupUgW/o0xt0NR1RP7OQgW5OOgPqQPMrQsp7uHmYur0ViNVc+TNxLQMIIAgPmSMOBa4Aggggi4IOhBHJAR8OAUjSHNpoGkbiImAjwICAkkAQBAEAQBAEAQBAEAQBAEAQBAEAQBAEAQBAEAQBAEAQBAEAQBAEAQBAEAQBAEBh4xLlgmdyjcfgUBozHSWzyD71/XVYlxDFWR1ljNSt4Y7sfQjHOuoi0fK+gzsFeWzMcN4c23jmbb4q5ZL+o38jL1eaVFR736ZOhlpnOhAEAQBAEAQBAEAQBAEAQBAEAQBAEAQBAEAQBAEAQBAEAQBAEAQBAEAQBAEAQBAEAQBAEB5VMDZGOY7VrmlpHc4WPwKA0ZjFK7rHwS6VEHZdf+8Z9iVvMOGvcbjgqtzb9p8UeZoWN72D4ZfpZCvaRodFmOEk8NHQwr05rKZ+AX3L1ClKbwkeKt1SprLZPbC4aamujjaLshc2Wd3BuU5o2X95zwNPdDlrUaSpxx1Oau7l158T5dDeqlKwQBAEAQBAEAQBAEAQBAEAQBAEAQBAEAQBAEAQBAEAQBAEAQBAEAQBAEAQBAEAQBAEAQBAEBXNsNj4K9rc5dFMz+HPHo9nMfeYeLT8EBreu2AxeM2Yaapbwdcxu8XNOg8ij35n1NrkfeHdGWIzEfWZYaaPiIbvkPcCRlHjqh8e/M2ps5s/BRQiGnZlbe5J1c9x3ve7i480BKIAgCAIAgCAIAgCAIAgCAIAgCAIAgCAIAgCAIAgCAIAgCAIAgCAIAgCA/9k="/>
          <p:cNvSpPr>
            <a:spLocks noChangeAspect="1" noChangeArrowheads="1"/>
          </p:cNvSpPr>
          <p:nvPr/>
        </p:nvSpPr>
        <p:spPr bwMode="auto">
          <a:xfrm>
            <a:off x="307975" y="-998538"/>
            <a:ext cx="6667500" cy="2409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3123" name="Picture 51" descr="http://wiki.cytoscape.org/Welcome?action=AttachFile&amp;do=get&amp;target=cy3logo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410" y="1602946"/>
            <a:ext cx="1800200" cy="650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Прямоугольник 41"/>
          <p:cNvSpPr/>
          <p:nvPr/>
        </p:nvSpPr>
        <p:spPr>
          <a:xfrm>
            <a:off x="196456" y="908720"/>
            <a:ext cx="3001553" cy="1512168"/>
          </a:xfrm>
          <a:prstGeom prst="rect">
            <a:avLst/>
          </a:prstGeom>
          <a:noFill/>
          <a:ln>
            <a:solidFill>
              <a:srgbClr val="265A9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Прямоугольник 42"/>
          <p:cNvSpPr/>
          <p:nvPr/>
        </p:nvSpPr>
        <p:spPr>
          <a:xfrm>
            <a:off x="323528" y="663079"/>
            <a:ext cx="2751074" cy="461665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ru-RU" sz="2400" b="1" dirty="0">
                <a:solidFill>
                  <a:schemeClr val="accent1"/>
                </a:solidFill>
                <a:latin typeface="Arial Narrow" panose="020B0606020202030204" pitchFamily="34" charset="0"/>
              </a:rPr>
              <a:t>Пакеты для анализа</a:t>
            </a:r>
            <a:endParaRPr lang="ru-RU" sz="2400" dirty="0"/>
          </a:p>
        </p:txBody>
      </p:sp>
      <p:pic>
        <p:nvPicPr>
          <p:cNvPr id="3108" name="Picture 36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9899" y="3320529"/>
            <a:ext cx="1838325" cy="695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0" name="Picture 8" descr="https://upload.wikimedia.org/wikipedia/commons/thumb/f/f8/Python_logo_and_wordmark.svg/260px-Python_logo_and_wordmark.svg.png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5937" y="5678997"/>
            <a:ext cx="2570972" cy="767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1783170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bogomolov_a\Documents\Фирменный_стиль\Россети flat horizontal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3808" y="1467639"/>
            <a:ext cx="3528392" cy="1344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0" y="2811789"/>
            <a:ext cx="9144000" cy="3240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9" name="Picture 5" descr="C:\Users\bogomolov_a\Documents\Фирменный_стиль\Arrow.PNG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667" y="2816186"/>
            <a:ext cx="336917" cy="298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Текст 2"/>
          <p:cNvSpPr txBox="1">
            <a:spLocks/>
          </p:cNvSpPr>
          <p:nvPr/>
        </p:nvSpPr>
        <p:spPr>
          <a:xfrm>
            <a:off x="2555776" y="5602595"/>
            <a:ext cx="4032448" cy="113877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340769" indent="-340769" algn="l" defTabSz="909701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6"/>
              </a:buBlip>
              <a:defRPr lang="en-US" sz="2300" kern="1200" dirty="0">
                <a:solidFill>
                  <a:srgbClr val="10253F"/>
                </a:solidFill>
                <a:latin typeface="Arial" pitchFamily="34" charset="0"/>
                <a:ea typeface="+mn-ea"/>
                <a:cs typeface="+mn-cs"/>
              </a:defRPr>
            </a:lvl1pPr>
            <a:lvl2pPr marL="739328" indent="-282991" algn="l" defTabSz="909701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lang="en-US" sz="1900" kern="1200" dirty="0">
                <a:solidFill>
                  <a:srgbClr val="10253F"/>
                </a:solidFill>
                <a:latin typeface="Arial" pitchFamily="34" charset="0"/>
                <a:ea typeface="+mn-ea"/>
                <a:cs typeface="+mn-cs"/>
              </a:defRPr>
            </a:lvl2pPr>
            <a:lvl3pPr marL="1136386" indent="-226628" algn="l" defTabSz="909701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300" kern="1200">
                <a:solidFill>
                  <a:srgbClr val="10253F"/>
                </a:solidFill>
                <a:latin typeface="Arial" pitchFamily="34" charset="0"/>
                <a:ea typeface="+mn-ea"/>
                <a:cs typeface="+mn-cs"/>
              </a:defRPr>
            </a:lvl3pPr>
            <a:lvl4pPr marL="1592713" indent="-226628" algn="l" defTabSz="909701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500" kern="1200">
                <a:solidFill>
                  <a:srgbClr val="10253F"/>
                </a:solidFill>
                <a:latin typeface="Arial" pitchFamily="34" charset="0"/>
                <a:ea typeface="+mn-ea"/>
                <a:cs typeface="+mn-cs"/>
              </a:defRPr>
            </a:lvl4pPr>
            <a:lvl5pPr marL="2047574" indent="-226628" algn="l" defTabSz="909701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500" kern="1200">
                <a:solidFill>
                  <a:srgbClr val="10253F"/>
                </a:solidFill>
                <a:latin typeface="Arial" pitchFamily="34" charset="0"/>
                <a:ea typeface="+mn-ea"/>
                <a:cs typeface="+mn-cs"/>
              </a:defRPr>
            </a:lvl5pPr>
            <a:lvl6pPr marL="2503150" indent="-227513" algn="l" defTabSz="91023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58273" indent="-227513" algn="l" defTabSz="91023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13392" indent="-227513" algn="l" defTabSz="91023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68512" indent="-227513" algn="l" defTabSz="91023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FontTx/>
              <a:buNone/>
            </a:pPr>
            <a:r>
              <a:rPr lang="ru-RU" sz="2000" dirty="0">
                <a:solidFill>
                  <a:prstClr val="white">
                    <a:lumMod val="50000"/>
                  </a:prstClr>
                </a:solidFill>
                <a:latin typeface="Arial Narrow" panose="020B0606020202030204" pitchFamily="34" charset="0"/>
              </a:rPr>
              <a:t>к.э.н. Сергей Вячеславович Макрушин</a:t>
            </a:r>
            <a:endParaRPr lang="en-US" sz="2000" dirty="0">
              <a:solidFill>
                <a:prstClr val="white">
                  <a:lumMod val="50000"/>
                </a:prstClr>
              </a:solidFill>
              <a:latin typeface="Arial Narrow" panose="020B0606020202030204" pitchFamily="34" charset="0"/>
            </a:endParaRPr>
          </a:p>
          <a:p>
            <a:pPr marL="0" indent="0" algn="ctr">
              <a:buNone/>
            </a:pPr>
            <a:r>
              <a:rPr lang="en-US" sz="2000" dirty="0">
                <a:solidFill>
                  <a:prstClr val="white">
                    <a:lumMod val="50000"/>
                  </a:prstClr>
                </a:solidFill>
                <a:latin typeface="Arial Narrow" panose="020B0606020202030204" pitchFamily="34" charset="0"/>
              </a:rPr>
              <a:t>SVMakrushin@fa.ru</a:t>
            </a:r>
            <a:endParaRPr lang="ru-RU" sz="2000" dirty="0">
              <a:solidFill>
                <a:prstClr val="white">
                  <a:lumMod val="50000"/>
                </a:prstClr>
              </a:solidFill>
              <a:latin typeface="Arial Narrow" panose="020B0606020202030204" pitchFamily="34" charset="0"/>
            </a:endParaRPr>
          </a:p>
          <a:p>
            <a:pPr marL="0" indent="0" algn="ctr">
              <a:buNone/>
            </a:pPr>
            <a:r>
              <a:rPr lang="ru-RU" sz="2000" dirty="0">
                <a:solidFill>
                  <a:prstClr val="white">
                    <a:lumMod val="50000"/>
                  </a:prstClr>
                </a:solidFill>
                <a:latin typeface="Arial Narrow" panose="020B0606020202030204" pitchFamily="34" charset="0"/>
              </a:rPr>
              <a:t>2018</a:t>
            </a:r>
            <a:r>
              <a:rPr lang="en-US" sz="2000" dirty="0">
                <a:solidFill>
                  <a:prstClr val="white">
                    <a:lumMod val="50000"/>
                  </a:prstClr>
                </a:solidFill>
                <a:latin typeface="Arial Narrow" panose="020B0606020202030204" pitchFamily="34" charset="0"/>
              </a:rPr>
              <a:t> </a:t>
            </a:r>
            <a:r>
              <a:rPr lang="ru-RU" sz="2000" dirty="0">
                <a:solidFill>
                  <a:prstClr val="white">
                    <a:lumMod val="50000"/>
                  </a:prstClr>
                </a:solidFill>
                <a:latin typeface="Arial Narrow" panose="020B0606020202030204" pitchFamily="34" charset="0"/>
              </a:rPr>
              <a:t>г.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2843808" y="1556792"/>
            <a:ext cx="3384376" cy="1080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Текст 1"/>
          <p:cNvSpPr txBox="1">
            <a:spLocks/>
          </p:cNvSpPr>
          <p:nvPr/>
        </p:nvSpPr>
        <p:spPr>
          <a:xfrm>
            <a:off x="1007604" y="2330154"/>
            <a:ext cx="7200800" cy="522782"/>
          </a:xfrm>
          <a:prstGeom prst="rect">
            <a:avLst/>
          </a:prstGeom>
        </p:spPr>
        <p:txBody>
          <a:bodyPr vert="horz" lIns="33596" tIns="45503" rIns="91029" bIns="45503" rtlCol="0" anchor="ctr">
            <a:spAutoFit/>
          </a:bodyPr>
          <a:lstStyle>
            <a:defPPr>
              <a:defRPr lang="ru-RU"/>
            </a:defPPr>
            <a:lvl1pPr marL="0" algn="r" defTabSz="910238" rtl="0" eaLnBrk="1" fontAlgn="auto" latinLnBrk="0" hangingPunct="1">
              <a:spcBef>
                <a:spcPts val="0"/>
              </a:spcBef>
              <a:spcAft>
                <a:spcPts val="0"/>
              </a:spcAft>
              <a:defRPr sz="1200" kern="1200">
                <a:solidFill>
                  <a:prstClr val="black">
                    <a:tint val="75000"/>
                  </a:prst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800" dirty="0">
                <a:solidFill>
                  <a:prstClr val="white">
                    <a:lumMod val="50000"/>
                  </a:prstClr>
                </a:solidFill>
                <a:latin typeface="Arial Narrow" panose="020B0606020202030204" pitchFamily="34" charset="0"/>
              </a:rPr>
              <a:t>Спасибо за внимание!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7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87624" y="764704"/>
            <a:ext cx="1514525" cy="1559651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8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prstClr val="black"/>
              <a:schemeClr val="accent1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2774157" y="903941"/>
            <a:ext cx="3622460" cy="1279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42999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730175" y="296571"/>
            <a:ext cx="874353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  <a:latin typeface="Arial Narrow" panose="020B0606020202030204" pitchFamily="34" charset="0"/>
              </a:rPr>
              <a:t>ТЕОРИЯ СЛОЖНЫХ СЕТЕЙ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323528" y="764704"/>
            <a:ext cx="8424936" cy="58446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</a:pPr>
            <a:r>
              <a:rPr lang="ru-RU" sz="2400" dirty="0">
                <a:solidFill>
                  <a:schemeClr val="accent2"/>
                </a:solidFill>
                <a:latin typeface="Arial Narrow" panose="020B0606020202030204" pitchFamily="34" charset="0"/>
              </a:rPr>
              <a:t>Теория сложных сетей (</a:t>
            </a:r>
            <a:r>
              <a:rPr lang="en-US" sz="2400" dirty="0">
                <a:solidFill>
                  <a:schemeClr val="accent2"/>
                </a:solidFill>
                <a:latin typeface="Arial Narrow" panose="020B0606020202030204" pitchFamily="34" charset="0"/>
              </a:rPr>
              <a:t>network theory</a:t>
            </a:r>
            <a:r>
              <a:rPr lang="ru-RU" sz="2400" dirty="0">
                <a:solidFill>
                  <a:schemeClr val="accent2"/>
                </a:solidFill>
                <a:latin typeface="Arial Narrow" panose="020B0606020202030204" pitchFamily="34" charset="0"/>
              </a:rPr>
              <a:t>, </a:t>
            </a:r>
            <a:r>
              <a:rPr lang="en-US" sz="2400" dirty="0">
                <a:solidFill>
                  <a:schemeClr val="accent2"/>
                </a:solidFill>
                <a:latin typeface="Arial Narrow" panose="020B0606020202030204" pitchFamily="34" charset="0"/>
              </a:rPr>
              <a:t>complex network theory</a:t>
            </a:r>
            <a:r>
              <a:rPr lang="ru-RU" sz="2400" dirty="0">
                <a:solidFill>
                  <a:schemeClr val="accent2"/>
                </a:solidFill>
                <a:latin typeface="Arial Narrow" panose="020B0606020202030204" pitchFamily="34" charset="0"/>
              </a:rPr>
              <a:t>)</a:t>
            </a:r>
            <a:r>
              <a:rPr lang="en-US" sz="2400" dirty="0">
                <a:solidFill>
                  <a:schemeClr val="accent2"/>
                </a:solidFill>
                <a:latin typeface="Arial Narrow" panose="020B0606020202030204" pitchFamily="34" charset="0"/>
              </a:rPr>
              <a:t> </a:t>
            </a:r>
            <a:r>
              <a:rPr lang="ru-RU" sz="2400" dirty="0">
                <a:solidFill>
                  <a:schemeClr val="accent2"/>
                </a:solidFill>
                <a:latin typeface="Arial Narrow" panose="020B0606020202030204" pitchFamily="34" charset="0"/>
              </a:rPr>
              <a:t>изучает сложные взаимодействующие системы которые могут быть представлены в виде графа</a:t>
            </a:r>
          </a:p>
          <a:p>
            <a:pPr>
              <a:lnSpc>
                <a:spcPct val="115000"/>
              </a:lnSpc>
            </a:pPr>
            <a:endParaRPr lang="ru-RU" sz="2000" dirty="0">
              <a:solidFill>
                <a:srgbClr val="3888CA"/>
              </a:solidFill>
              <a:latin typeface="Arial Narrow" panose="020B0606020202030204" pitchFamily="34" charset="0"/>
            </a:endParaRPr>
          </a:p>
          <a:p>
            <a:pPr>
              <a:lnSpc>
                <a:spcPct val="115000"/>
              </a:lnSpc>
            </a:pPr>
            <a:r>
              <a:rPr lang="ru-RU" sz="2000" dirty="0">
                <a:solidFill>
                  <a:srgbClr val="3888CA"/>
                </a:solidFill>
                <a:latin typeface="Arial Narrow" panose="020B0606020202030204" pitchFamily="34" charset="0"/>
              </a:rPr>
              <a:t>Примеры сложных сетей:</a:t>
            </a:r>
          </a:p>
          <a:p>
            <a:pPr marL="285750" indent="-285750">
              <a:spcBef>
                <a:spcPts val="600"/>
              </a:spcBef>
              <a:buClr>
                <a:schemeClr val="accent1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3888CA"/>
                </a:solidFill>
                <a:latin typeface="Arial Narrow" panose="020B0606020202030204" pitchFamily="34" charset="0"/>
              </a:rPr>
              <a:t>Коммуникационные сети: телефонные звонки</a:t>
            </a:r>
            <a:r>
              <a:rPr lang="en-US" sz="2000" dirty="0">
                <a:solidFill>
                  <a:srgbClr val="3888CA"/>
                </a:solidFill>
                <a:latin typeface="Arial Narrow" panose="020B0606020202030204" pitchFamily="34" charset="0"/>
              </a:rPr>
              <a:t>, </a:t>
            </a:r>
            <a:r>
              <a:rPr lang="ru-RU" sz="2000" dirty="0" err="1">
                <a:solidFill>
                  <a:srgbClr val="3888CA"/>
                </a:solidFill>
                <a:latin typeface="Arial Narrow" panose="020B0606020202030204" pitchFamily="34" charset="0"/>
              </a:rPr>
              <a:t>email</a:t>
            </a:r>
            <a:r>
              <a:rPr lang="ru-RU" sz="2000" dirty="0">
                <a:solidFill>
                  <a:srgbClr val="3888CA"/>
                </a:solidFill>
                <a:latin typeface="Arial Narrow" panose="020B0606020202030204" pitchFamily="34" charset="0"/>
              </a:rPr>
              <a:t>, </a:t>
            </a:r>
            <a:r>
              <a:rPr lang="ru-RU" sz="2000" dirty="0" err="1">
                <a:solidFill>
                  <a:srgbClr val="3888CA"/>
                </a:solidFill>
                <a:latin typeface="Arial Narrow" panose="020B0606020202030204" pitchFamily="34" charset="0"/>
              </a:rPr>
              <a:t>skype</a:t>
            </a:r>
            <a:r>
              <a:rPr lang="en-US" sz="2000" dirty="0">
                <a:solidFill>
                  <a:srgbClr val="3888CA"/>
                </a:solidFill>
                <a:latin typeface="Arial Narrow" panose="020B0606020202030204" pitchFamily="34" charset="0"/>
              </a:rPr>
              <a:t>.</a:t>
            </a:r>
          </a:p>
          <a:p>
            <a:pPr marL="285750" indent="-285750">
              <a:spcBef>
                <a:spcPts val="600"/>
              </a:spcBef>
              <a:buClr>
                <a:schemeClr val="accent1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3888CA"/>
                </a:solidFill>
                <a:latin typeface="Arial Narrow" panose="020B0606020202030204" pitchFamily="34" charset="0"/>
              </a:rPr>
              <a:t>Интернет и веб граф: связь между роутерами, веб ссылки</a:t>
            </a:r>
            <a:r>
              <a:rPr lang="en-US" sz="2000" dirty="0">
                <a:solidFill>
                  <a:srgbClr val="3888CA"/>
                </a:solidFill>
                <a:latin typeface="Arial Narrow" panose="020B0606020202030204" pitchFamily="34" charset="0"/>
              </a:rPr>
              <a:t>.</a:t>
            </a:r>
          </a:p>
          <a:p>
            <a:pPr marL="285750" indent="-285750">
              <a:spcBef>
                <a:spcPts val="600"/>
              </a:spcBef>
              <a:buClr>
                <a:schemeClr val="accent1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3888CA"/>
                </a:solidFill>
                <a:latin typeface="Arial Narrow" panose="020B0606020202030204" pitchFamily="34" charset="0"/>
              </a:rPr>
              <a:t>Рекомендательные сервисы: сети музыки, фильмов, книг</a:t>
            </a:r>
            <a:r>
              <a:rPr lang="en-US" sz="2000" dirty="0">
                <a:solidFill>
                  <a:srgbClr val="3888CA"/>
                </a:solidFill>
                <a:latin typeface="Arial Narrow" panose="020B0606020202030204" pitchFamily="34" charset="0"/>
              </a:rPr>
              <a:t>.</a:t>
            </a:r>
          </a:p>
          <a:p>
            <a:pPr marL="285750" indent="-285750">
              <a:spcBef>
                <a:spcPts val="600"/>
              </a:spcBef>
              <a:buClr>
                <a:schemeClr val="accent1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3888CA"/>
                </a:solidFill>
                <a:latin typeface="Arial Narrow" panose="020B0606020202030204" pitchFamily="34" charset="0"/>
              </a:rPr>
              <a:t>Социальные сети: дружба, общение, сотрудничество, работа</a:t>
            </a:r>
            <a:r>
              <a:rPr lang="en-US" sz="2000" dirty="0">
                <a:solidFill>
                  <a:srgbClr val="3888CA"/>
                </a:solidFill>
                <a:latin typeface="Arial Narrow" panose="020B0606020202030204" pitchFamily="34" charset="0"/>
              </a:rPr>
              <a:t>.</a:t>
            </a:r>
          </a:p>
          <a:p>
            <a:pPr marL="285750" indent="-285750">
              <a:spcBef>
                <a:spcPts val="600"/>
              </a:spcBef>
              <a:buClr>
                <a:schemeClr val="accent1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3888CA"/>
                </a:solidFill>
                <a:latin typeface="Arial Narrow" panose="020B0606020202030204" pitchFamily="34" charset="0"/>
              </a:rPr>
              <a:t>Бизнес, экономические, торговые, политические сети</a:t>
            </a:r>
            <a:r>
              <a:rPr lang="en-US" sz="2000" dirty="0">
                <a:solidFill>
                  <a:srgbClr val="3888CA"/>
                </a:solidFill>
                <a:latin typeface="Arial Narrow" panose="020B0606020202030204" pitchFamily="34" charset="0"/>
              </a:rPr>
              <a:t>.</a:t>
            </a:r>
          </a:p>
          <a:p>
            <a:pPr marL="285750" indent="-285750">
              <a:spcBef>
                <a:spcPts val="600"/>
              </a:spcBef>
              <a:buClr>
                <a:schemeClr val="accent1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3888CA"/>
                </a:solidFill>
                <a:latin typeface="Arial Narrow" panose="020B0606020202030204" pitchFamily="34" charset="0"/>
              </a:rPr>
              <a:t>Семантические сети: связь слов, понятий</a:t>
            </a:r>
            <a:r>
              <a:rPr lang="en-US" sz="2000" dirty="0">
                <a:solidFill>
                  <a:srgbClr val="3888CA"/>
                </a:solidFill>
                <a:latin typeface="Arial Narrow" panose="020B0606020202030204" pitchFamily="34" charset="0"/>
              </a:rPr>
              <a:t>.</a:t>
            </a:r>
          </a:p>
          <a:p>
            <a:pPr marL="285750" indent="-285750">
              <a:spcBef>
                <a:spcPts val="600"/>
              </a:spcBef>
              <a:buClr>
                <a:schemeClr val="accent1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3888CA"/>
                </a:solidFill>
                <a:latin typeface="Arial Narrow" panose="020B0606020202030204" pitchFamily="34" charset="0"/>
              </a:rPr>
              <a:t>Биологические сети: взаимодействие белков, сети метаболизма</a:t>
            </a:r>
            <a:r>
              <a:rPr lang="en-US" sz="2000" dirty="0">
                <a:solidFill>
                  <a:srgbClr val="3888CA"/>
                </a:solidFill>
                <a:latin typeface="Arial Narrow" panose="020B0606020202030204" pitchFamily="34" charset="0"/>
              </a:rPr>
              <a:t>.</a:t>
            </a:r>
          </a:p>
          <a:p>
            <a:pPr marL="285750" indent="-285750">
              <a:spcBef>
                <a:spcPts val="600"/>
              </a:spcBef>
              <a:buClr>
                <a:schemeClr val="accent1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3888CA"/>
                </a:solidFill>
                <a:latin typeface="Arial Narrow" panose="020B0606020202030204" pitchFamily="34" charset="0"/>
              </a:rPr>
              <a:t>Технологические, транспортные сети: сети автодорог, линии </a:t>
            </a:r>
            <a:r>
              <a:rPr lang="ru-RU" sz="2000" dirty="0" err="1">
                <a:solidFill>
                  <a:srgbClr val="3888CA"/>
                </a:solidFill>
                <a:latin typeface="Arial Narrow" panose="020B0606020202030204" pitchFamily="34" charset="0"/>
              </a:rPr>
              <a:t>электро</a:t>
            </a:r>
            <a:r>
              <a:rPr lang="ru-RU" sz="2000" dirty="0">
                <a:solidFill>
                  <a:srgbClr val="3888CA"/>
                </a:solidFill>
                <a:latin typeface="Arial Narrow" panose="020B0606020202030204" pitchFamily="34" charset="0"/>
              </a:rPr>
              <a:t> передач.</a:t>
            </a:r>
          </a:p>
          <a:p>
            <a:pPr marL="285750" indent="-285750">
              <a:spcBef>
                <a:spcPts val="600"/>
              </a:spcBef>
              <a:buClr>
                <a:schemeClr val="accent1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3888CA"/>
                </a:solidFill>
                <a:latin typeface="Arial Narrow" panose="020B0606020202030204" pitchFamily="34" charset="0"/>
              </a:rPr>
              <a:t>Биологические сети: взаимодействие белков, наследственная информация, нейронные сети</a:t>
            </a:r>
          </a:p>
        </p:txBody>
      </p:sp>
    </p:spTree>
    <p:extLst>
      <p:ext uri="{BB962C8B-B14F-4D97-AF65-F5344CB8AC3E}">
        <p14:creationId xmlns:p14="http://schemas.microsoft.com/office/powerpoint/2010/main" val="14602450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730175" y="296571"/>
            <a:ext cx="773025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  <a:latin typeface="Arial Narrow" panose="020B0606020202030204" pitchFamily="34" charset="0"/>
              </a:rPr>
              <a:t>ПРИМЕРЫ СЛОЖНЫХ СЕТЕЙ</a:t>
            </a:r>
          </a:p>
        </p:txBody>
      </p:sp>
      <p:sp>
        <p:nvSpPr>
          <p:cNvPr id="3" name="Прямоугольник 2"/>
          <p:cNvSpPr/>
          <p:nvPr>
            <p:custDataLst>
              <p:tags r:id="rId1"/>
            </p:custDataLst>
          </p:nvPr>
        </p:nvSpPr>
        <p:spPr>
          <a:xfrm>
            <a:off x="107504" y="5805264"/>
            <a:ext cx="5256584" cy="432048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25000"/>
              </a:lnSpc>
            </a:pPr>
            <a:r>
              <a:rPr lang="ru-RU" sz="2400" dirty="0">
                <a:solidFill>
                  <a:srgbClr val="3888CA"/>
                </a:solidFill>
                <a:latin typeface="Arial Narrow" panose="020B0606020202030204" pitchFamily="34" charset="0"/>
              </a:rPr>
              <a:t>Физическая структура сети Интернет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520" y="1340768"/>
            <a:ext cx="4320480" cy="4320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2452" y="1340768"/>
            <a:ext cx="4320480" cy="432048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8" name="Прямоугольник 7"/>
          <p:cNvSpPr/>
          <p:nvPr>
            <p:custDataLst>
              <p:tags r:id="rId2"/>
            </p:custDataLst>
          </p:nvPr>
        </p:nvSpPr>
        <p:spPr>
          <a:xfrm>
            <a:off x="4716016" y="5805264"/>
            <a:ext cx="5256584" cy="432048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25000"/>
              </a:lnSpc>
            </a:pPr>
            <a:r>
              <a:rPr lang="ru-RU" sz="2400" dirty="0">
                <a:solidFill>
                  <a:srgbClr val="3888CA"/>
                </a:solidFill>
                <a:latin typeface="Arial Narrow" panose="020B0606020202030204" pitchFamily="34" charset="0"/>
              </a:rPr>
              <a:t>Сеть взаимодействия протеинов</a:t>
            </a:r>
          </a:p>
        </p:txBody>
      </p:sp>
    </p:spTree>
    <p:extLst>
      <p:ext uri="{BB962C8B-B14F-4D97-AF65-F5344CB8AC3E}">
        <p14:creationId xmlns:p14="http://schemas.microsoft.com/office/powerpoint/2010/main" val="13932741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730175" y="296571"/>
            <a:ext cx="773025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  <a:latin typeface="Arial Narrow" panose="020B0606020202030204" pitchFamily="34" charset="0"/>
              </a:rPr>
              <a:t>ПРИМЕРЫ СЛОЖНЫХ СЕТЕЙ С ПРОСТРАНСТВЕННОЙ ПРИВЯЗКОЙ</a:t>
            </a:r>
          </a:p>
        </p:txBody>
      </p:sp>
      <p:sp>
        <p:nvSpPr>
          <p:cNvPr id="3" name="Прямоугольник 2"/>
          <p:cNvSpPr/>
          <p:nvPr>
            <p:custDataLst>
              <p:tags r:id="rId1"/>
            </p:custDataLst>
          </p:nvPr>
        </p:nvSpPr>
        <p:spPr>
          <a:xfrm>
            <a:off x="6084168" y="2276873"/>
            <a:ext cx="2376264" cy="432048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400" b="1" dirty="0">
                <a:solidFill>
                  <a:srgbClr val="3888CA"/>
                </a:solidFill>
                <a:latin typeface="Arial Narrow" panose="020B0606020202030204" pitchFamily="34" charset="0"/>
              </a:rPr>
              <a:t>Сеть авиамаршрутов</a:t>
            </a:r>
          </a:p>
        </p:txBody>
      </p:sp>
      <p:sp>
        <p:nvSpPr>
          <p:cNvPr id="8" name="Прямоугольник 7"/>
          <p:cNvSpPr/>
          <p:nvPr>
            <p:custDataLst>
              <p:tags r:id="rId2"/>
            </p:custDataLst>
          </p:nvPr>
        </p:nvSpPr>
        <p:spPr>
          <a:xfrm>
            <a:off x="6084168" y="5074034"/>
            <a:ext cx="3059832" cy="432048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400" b="1" dirty="0">
                <a:solidFill>
                  <a:srgbClr val="3888CA"/>
                </a:solidFill>
                <a:latin typeface="Arial Narrow" panose="020B0606020202030204" pitchFamily="34" charset="0"/>
              </a:rPr>
              <a:t>Магистральная электросеть</a:t>
            </a:r>
          </a:p>
        </p:txBody>
      </p:sp>
      <p:pic>
        <p:nvPicPr>
          <p:cNvPr id="9" name="Picture 2" descr="Researchers develop method that shows diverse complex networks have similar skeleton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268761"/>
            <a:ext cx="5472608" cy="2448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http://upload.wikimedia.org/wikipedia/commons/d/d4/UnitedStatesPowerGrid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3838749"/>
            <a:ext cx="5472608" cy="29026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488965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39552" y="296571"/>
            <a:ext cx="773025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  <a:latin typeface="Arial Narrow" panose="020B0606020202030204" pitchFamily="34" charset="0"/>
              </a:rPr>
              <a:t>УНИВЕРСАЛЬНОСТЬ СВОЙСТВ СЛОЖНЫХ СЕТЕЙ</a:t>
            </a:r>
          </a:p>
        </p:txBody>
      </p:sp>
      <p:sp>
        <p:nvSpPr>
          <p:cNvPr id="3" name="Прямоугольник 2"/>
          <p:cNvSpPr/>
          <p:nvPr>
            <p:custDataLst>
              <p:tags r:id="rId1"/>
            </p:custDataLst>
          </p:nvPr>
        </p:nvSpPr>
        <p:spPr>
          <a:xfrm>
            <a:off x="0" y="1556792"/>
            <a:ext cx="8927976" cy="1800200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indent="-457200">
              <a:lnSpc>
                <a:spcPct val="115000"/>
              </a:lnSpc>
              <a:buFont typeface="+mj-lt"/>
              <a:buAutoNum type="arabicPeriod"/>
            </a:pPr>
            <a:r>
              <a:rPr lang="ru-RU" sz="1600" dirty="0">
                <a:solidFill>
                  <a:srgbClr val="3888CA"/>
                </a:solidFill>
                <a:latin typeface="Arial Narrow" panose="020B0606020202030204" pitchFamily="34" charset="0"/>
              </a:rPr>
              <a:t>Сложные сети являются продуктом процесса роста, управляемого определенным набором правил.</a:t>
            </a:r>
          </a:p>
          <a:p>
            <a:pPr marL="457200" indent="-457200">
              <a:lnSpc>
                <a:spcPct val="115000"/>
              </a:lnSpc>
              <a:buFont typeface="+mj-lt"/>
              <a:buAutoNum type="arabicPeriod"/>
            </a:pPr>
            <a:r>
              <a:rPr lang="ru-RU" sz="1600" dirty="0">
                <a:solidFill>
                  <a:srgbClr val="3888CA"/>
                </a:solidFill>
                <a:latin typeface="Arial Narrow" panose="020B0606020202030204" pitchFamily="34" charset="0"/>
              </a:rPr>
              <a:t>Существует небольшой набор универсальных правил роста сетей, встречающихся в большом количестве сетей в различных предметных областях.</a:t>
            </a:r>
          </a:p>
          <a:p>
            <a:pPr marL="457200" indent="-457200">
              <a:lnSpc>
                <a:spcPct val="115000"/>
              </a:lnSpc>
              <a:buFont typeface="+mj-lt"/>
              <a:buAutoNum type="arabicPeriod"/>
            </a:pPr>
            <a:r>
              <a:rPr lang="ru-RU" sz="1600" dirty="0">
                <a:solidFill>
                  <a:srgbClr val="3888CA"/>
                </a:solidFill>
                <a:latin typeface="Arial Narrow" panose="020B0606020202030204" pitchFamily="34" charset="0"/>
              </a:rPr>
              <a:t>Схожесть правил, определяющих рост сетей, приводит к схожести структуры сложных сетей.</a:t>
            </a:r>
          </a:p>
          <a:p>
            <a:pPr marL="457200" indent="-457200">
              <a:lnSpc>
                <a:spcPct val="115000"/>
              </a:lnSpc>
              <a:buFont typeface="+mj-lt"/>
              <a:buAutoNum type="arabicPeriod"/>
            </a:pPr>
            <a:r>
              <a:rPr lang="ru-RU" sz="1600" dirty="0">
                <a:solidFill>
                  <a:srgbClr val="3888CA"/>
                </a:solidFill>
                <a:latin typeface="Arial Narrow" panose="020B0606020202030204" pitchFamily="34" charset="0"/>
              </a:rPr>
              <a:t>Схожесть структуры у сетей различной природы позволяет рассматривать их в рамках общей теории.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2040" y="3212975"/>
            <a:ext cx="3995936" cy="28061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4595303" y="6049067"/>
            <a:ext cx="4548697" cy="792088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  <a:latin typeface="Arial Narrow" panose="020B0606020202030204" pitchFamily="34" charset="0"/>
              </a:rPr>
              <a:t>Пример ключевой роли правил, определяющих рост сети: различные настройки алгоритма роста сети на идентичном наборе узлов</a:t>
            </a:r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892" y="3212975"/>
            <a:ext cx="3922577" cy="28061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192047" y="5782241"/>
            <a:ext cx="4316412" cy="792088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  <a:latin typeface="Arial Narrow" panose="020B0606020202030204" pitchFamily="34" charset="0"/>
              </a:rPr>
              <a:t>Пример роста сети: городская дорожная сеть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95311" y="670003"/>
            <a:ext cx="8832665" cy="11541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</a:pPr>
            <a:r>
              <a:rPr lang="ru-RU" sz="2000" dirty="0">
                <a:solidFill>
                  <a:schemeClr val="accent2"/>
                </a:solidFill>
                <a:latin typeface="Arial Narrow" panose="020B0606020202030204" pitchFamily="34" charset="0"/>
              </a:rPr>
              <a:t>Закономерности развития сложных сетей определяют появление в них ряда </a:t>
            </a:r>
          </a:p>
          <a:p>
            <a:pPr>
              <a:lnSpc>
                <a:spcPct val="115000"/>
              </a:lnSpc>
            </a:pPr>
            <a:r>
              <a:rPr lang="ru-RU" sz="2000" dirty="0">
                <a:solidFill>
                  <a:schemeClr val="accent2"/>
                </a:solidFill>
                <a:latin typeface="Arial Narrow" panose="020B0606020202030204" pitchFamily="34" charset="0"/>
              </a:rPr>
              <a:t>типовых структур, что делает продуктивным рассмотрение сетей различной природы в рамках общей теории</a:t>
            </a:r>
          </a:p>
        </p:txBody>
      </p:sp>
    </p:spTree>
    <p:extLst>
      <p:ext uri="{BB962C8B-B14F-4D97-AF65-F5344CB8AC3E}">
        <p14:creationId xmlns:p14="http://schemas.microsoft.com/office/powerpoint/2010/main" val="31989949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730175" y="296571"/>
            <a:ext cx="874353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  <a:latin typeface="Arial Narrow" panose="020B0606020202030204" pitchFamily="34" charset="0"/>
              </a:rPr>
              <a:t>ТЕОРИЯ СЛОЖНЫХ СЕТЕЙ</a:t>
            </a:r>
          </a:p>
        </p:txBody>
      </p:sp>
      <p:sp>
        <p:nvSpPr>
          <p:cNvPr id="6" name="Пятиугольник 5"/>
          <p:cNvSpPr/>
          <p:nvPr/>
        </p:nvSpPr>
        <p:spPr>
          <a:xfrm>
            <a:off x="210840" y="3945414"/>
            <a:ext cx="3888432" cy="648072"/>
          </a:xfrm>
          <a:prstGeom prst="homePlate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chemeClr val="bg1">
                    <a:lumMod val="50000"/>
                  </a:schemeClr>
                </a:solidFill>
              </a:rPr>
              <a:t>Теория графов</a:t>
            </a:r>
          </a:p>
        </p:txBody>
      </p:sp>
      <p:sp>
        <p:nvSpPr>
          <p:cNvPr id="7" name="Пятиугольник 6"/>
          <p:cNvSpPr/>
          <p:nvPr/>
        </p:nvSpPr>
        <p:spPr>
          <a:xfrm>
            <a:off x="234587" y="3153326"/>
            <a:ext cx="3384376" cy="648072"/>
          </a:xfrm>
          <a:prstGeom prst="homePlate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chemeClr val="bg1">
                    <a:lumMod val="50000"/>
                  </a:schemeClr>
                </a:solidFill>
              </a:rPr>
              <a:t>Теория вероятностей и мат. статистика</a:t>
            </a:r>
          </a:p>
        </p:txBody>
      </p:sp>
      <p:sp>
        <p:nvSpPr>
          <p:cNvPr id="8" name="Пятиугольник 7"/>
          <p:cNvSpPr/>
          <p:nvPr/>
        </p:nvSpPr>
        <p:spPr>
          <a:xfrm>
            <a:off x="198819" y="4737502"/>
            <a:ext cx="3384376" cy="648072"/>
          </a:xfrm>
          <a:prstGeom prst="homePlate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chemeClr val="bg1">
                    <a:lumMod val="50000"/>
                  </a:schemeClr>
                </a:solidFill>
              </a:rPr>
              <a:t>Статистическая физика</a:t>
            </a:r>
          </a:p>
        </p:txBody>
      </p:sp>
      <p:sp>
        <p:nvSpPr>
          <p:cNvPr id="9" name="Пятиугольник 8"/>
          <p:cNvSpPr/>
          <p:nvPr/>
        </p:nvSpPr>
        <p:spPr>
          <a:xfrm>
            <a:off x="4211960" y="3423108"/>
            <a:ext cx="4883235" cy="1854950"/>
          </a:xfrm>
          <a:prstGeom prst="homePlate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>
                <a:solidFill>
                  <a:schemeClr val="bg1">
                    <a:lumMod val="50000"/>
                  </a:schemeClr>
                </a:solidFill>
              </a:rPr>
              <a:t>Теория сложных сетей</a:t>
            </a:r>
          </a:p>
        </p:txBody>
      </p:sp>
      <p:sp>
        <p:nvSpPr>
          <p:cNvPr id="10" name="Пятиугольник 9"/>
          <p:cNvSpPr/>
          <p:nvPr/>
        </p:nvSpPr>
        <p:spPr>
          <a:xfrm rot="16200000">
            <a:off x="5565931" y="3635313"/>
            <a:ext cx="1341276" cy="3672406"/>
          </a:xfrm>
          <a:prstGeom prst="homePlate">
            <a:avLst>
              <a:gd name="adj" fmla="val 29518"/>
            </a:avLst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ru-RU" sz="2000" b="1" dirty="0">
                <a:solidFill>
                  <a:schemeClr val="bg1">
                    <a:lumMod val="50000"/>
                  </a:schemeClr>
                </a:solidFill>
              </a:rPr>
              <a:t>Прикладные исследования сложных сетей (социология, биология, </a:t>
            </a:r>
            <a:r>
              <a:rPr lang="ru-RU" sz="2000" b="1" dirty="0" err="1">
                <a:solidFill>
                  <a:schemeClr val="bg1">
                    <a:lumMod val="50000"/>
                  </a:schemeClr>
                </a:solidFill>
              </a:rPr>
              <a:t>урбанистика</a:t>
            </a:r>
            <a:r>
              <a:rPr lang="ru-RU" sz="2000" b="1" dirty="0">
                <a:solidFill>
                  <a:schemeClr val="bg1">
                    <a:lumMod val="50000"/>
                  </a:schemeClr>
                </a:solidFill>
              </a:rPr>
              <a:t>, …)</a:t>
            </a:r>
          </a:p>
        </p:txBody>
      </p:sp>
      <p:sp>
        <p:nvSpPr>
          <p:cNvPr id="11" name="Пятиугольник 10"/>
          <p:cNvSpPr/>
          <p:nvPr/>
        </p:nvSpPr>
        <p:spPr>
          <a:xfrm rot="5400000">
            <a:off x="4257619" y="1723316"/>
            <a:ext cx="1152126" cy="2500973"/>
          </a:xfrm>
          <a:prstGeom prst="homePlate">
            <a:avLst>
              <a:gd name="adj" fmla="val 29518"/>
            </a:avLst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ru-RU" sz="2000" b="1" dirty="0">
                <a:solidFill>
                  <a:schemeClr val="bg1">
                    <a:lumMod val="50000"/>
                  </a:schemeClr>
                </a:solidFill>
              </a:rPr>
              <a:t>Сложные сети в виде оцифрованных массивов данных</a:t>
            </a:r>
          </a:p>
        </p:txBody>
      </p:sp>
      <p:sp>
        <p:nvSpPr>
          <p:cNvPr id="12" name="Пятиугольник 11"/>
          <p:cNvSpPr/>
          <p:nvPr/>
        </p:nvSpPr>
        <p:spPr>
          <a:xfrm rot="5400000">
            <a:off x="7024465" y="1609844"/>
            <a:ext cx="1152126" cy="2727920"/>
          </a:xfrm>
          <a:prstGeom prst="homePlate">
            <a:avLst>
              <a:gd name="adj" fmla="val 29518"/>
            </a:avLst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ru-RU" sz="2000" b="1" dirty="0">
                <a:solidFill>
                  <a:schemeClr val="bg1">
                    <a:lumMod val="50000"/>
                  </a:schemeClr>
                </a:solidFill>
              </a:rPr>
              <a:t>Общедоступные инструменты анализа сложных сетей на ПК</a:t>
            </a:r>
          </a:p>
        </p:txBody>
      </p:sp>
      <p:sp>
        <p:nvSpPr>
          <p:cNvPr id="13" name="Пятно 1 12"/>
          <p:cNvSpPr/>
          <p:nvPr/>
        </p:nvSpPr>
        <p:spPr>
          <a:xfrm>
            <a:off x="4139952" y="3225334"/>
            <a:ext cx="4752528" cy="2052724"/>
          </a:xfrm>
          <a:prstGeom prst="irregularSeal1">
            <a:avLst/>
          </a:prstGeom>
          <a:solidFill>
            <a:srgbClr val="3888C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bg1"/>
                </a:solidFill>
              </a:rPr>
              <a:t>Теория сложных сетей</a:t>
            </a:r>
          </a:p>
          <a:p>
            <a:pPr algn="ctr"/>
            <a:endParaRPr lang="ru-RU" sz="800" b="1" dirty="0">
              <a:solidFill>
                <a:schemeClr val="accent4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544688" y="1965690"/>
            <a:ext cx="2598788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200" b="1" dirty="0">
                <a:solidFill>
                  <a:schemeClr val="accent1"/>
                </a:solidFill>
                <a:latin typeface="Arial Narrow" panose="020B0606020202030204" pitchFamily="34" charset="0"/>
              </a:rPr>
              <a:t>Эмпирический базис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363219" y="1700808"/>
            <a:ext cx="2512226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200" b="1" dirty="0">
                <a:solidFill>
                  <a:schemeClr val="accent1"/>
                </a:solidFill>
                <a:latin typeface="Arial Narrow" panose="020B0606020202030204" pitchFamily="34" charset="0"/>
              </a:rPr>
              <a:t>Инструментальные </a:t>
            </a:r>
          </a:p>
          <a:p>
            <a:pPr algn="ctr"/>
            <a:r>
              <a:rPr lang="ru-RU" sz="2200" b="1" dirty="0">
                <a:solidFill>
                  <a:schemeClr val="accent1"/>
                </a:solidFill>
                <a:latin typeface="Arial Narrow" panose="020B0606020202030204" pitchFamily="34" charset="0"/>
              </a:rPr>
              <a:t>методы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5101944" y="6166465"/>
            <a:ext cx="226215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200" b="1" dirty="0">
                <a:solidFill>
                  <a:schemeClr val="accent1"/>
                </a:solidFill>
                <a:latin typeface="Arial Narrow" panose="020B0606020202030204" pitchFamily="34" charset="0"/>
              </a:rPr>
              <a:t>Постановки задач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05321" y="2613762"/>
            <a:ext cx="264687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200" b="1" dirty="0">
                <a:solidFill>
                  <a:schemeClr val="accent1"/>
                </a:solidFill>
                <a:latin typeface="Arial Narrow" panose="020B0606020202030204" pitchFamily="34" charset="0"/>
              </a:rPr>
              <a:t>Теоритический базис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Box 17"/>
              <p:cNvSpPr txBox="1"/>
              <p:nvPr/>
            </p:nvSpPr>
            <p:spPr>
              <a:xfrm>
                <a:off x="6012160" y="4429725"/>
                <a:ext cx="939680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ru-RU" sz="1400" b="1" i="1" smtClean="0">
                          <a:solidFill>
                            <a:schemeClr val="bg1"/>
                          </a:solidFill>
                          <a:latin typeface="Cambria Math"/>
                          <a:ea typeface="Cambria Math"/>
                        </a:rPr>
                        <m:t>~</m:t>
                      </m:r>
                      <m:r>
                        <a:rPr lang="ru-RU" sz="1400" b="1" i="1" smtClean="0">
                          <a:solidFill>
                            <a:schemeClr val="bg1"/>
                          </a:solidFill>
                          <a:latin typeface="Cambria Math"/>
                          <a:ea typeface="Cambria Math"/>
                        </a:rPr>
                        <m:t>𝟐𝟎𝟎𝟎</m:t>
                      </m:r>
                      <m:r>
                        <a:rPr lang="ru-RU" sz="1400" b="1" i="1" smtClean="0">
                          <a:solidFill>
                            <a:schemeClr val="bg1"/>
                          </a:solidFill>
                          <a:latin typeface="Cambria Math"/>
                          <a:ea typeface="Cambria Math"/>
                        </a:rPr>
                        <m:t> г.</m:t>
                      </m:r>
                    </m:oMath>
                  </m:oMathPara>
                </a14:m>
                <a:endParaRPr lang="ru-RU" sz="1400" b="1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18" name="TextBox 1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12160" y="4429725"/>
                <a:ext cx="939680" cy="307777"/>
              </a:xfrm>
              <a:prstGeom prst="rect">
                <a:avLst/>
              </a:prstGeom>
              <a:blipFill rotWithShape="1"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Прямоугольник 2"/>
          <p:cNvSpPr/>
          <p:nvPr/>
        </p:nvSpPr>
        <p:spPr>
          <a:xfrm>
            <a:off x="222266" y="645656"/>
            <a:ext cx="8742221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chemeClr val="accent2"/>
                </a:solidFill>
                <a:latin typeface="Arial Narrow" panose="020B0606020202030204" pitchFamily="34" charset="0"/>
              </a:rPr>
              <a:t>Новая дисциплина – теория сложных сетей (</a:t>
            </a:r>
            <a:r>
              <a:rPr lang="en-US" sz="2000" dirty="0">
                <a:solidFill>
                  <a:schemeClr val="accent2"/>
                </a:solidFill>
                <a:latin typeface="Arial Narrow" panose="020B0606020202030204" pitchFamily="34" charset="0"/>
              </a:rPr>
              <a:t>network theory</a:t>
            </a:r>
            <a:r>
              <a:rPr lang="ru-RU" sz="2000" dirty="0">
                <a:solidFill>
                  <a:schemeClr val="accent2"/>
                </a:solidFill>
                <a:latin typeface="Arial Narrow" panose="020B0606020202030204" pitchFamily="34" charset="0"/>
              </a:rPr>
              <a:t>, </a:t>
            </a:r>
            <a:r>
              <a:rPr lang="en-US" sz="2000" dirty="0">
                <a:solidFill>
                  <a:schemeClr val="accent2"/>
                </a:solidFill>
                <a:latin typeface="Arial Narrow" panose="020B0606020202030204" pitchFamily="34" charset="0"/>
              </a:rPr>
              <a:t>complex network </a:t>
            </a:r>
            <a:endParaRPr lang="ru-RU" sz="2000" dirty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r>
              <a:rPr lang="en-US" sz="2000" dirty="0">
                <a:solidFill>
                  <a:schemeClr val="accent2"/>
                </a:solidFill>
                <a:latin typeface="Arial Narrow" panose="020B0606020202030204" pitchFamily="34" charset="0"/>
              </a:rPr>
              <a:t>theory</a:t>
            </a:r>
            <a:r>
              <a:rPr lang="ru-RU" sz="2000" dirty="0">
                <a:solidFill>
                  <a:schemeClr val="accent2"/>
                </a:solidFill>
                <a:latin typeface="Arial Narrow" panose="020B0606020202030204" pitchFamily="34" charset="0"/>
              </a:rPr>
              <a:t>) изучает сложные взаимодействующие системы, представимые в виде сети (графа) с большим количеством узлов. </a:t>
            </a:r>
            <a:endParaRPr lang="ru-RU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73993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730175" y="296571"/>
            <a:ext cx="874353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  <a:latin typeface="Arial Narrow" panose="020B0606020202030204" pitchFamily="34" charset="0"/>
              </a:rPr>
              <a:t>ЗАДАЧИ ТЕОРИИ СЛОЖНЫХ СЕТЕЙ</a:t>
            </a:r>
          </a:p>
        </p:txBody>
      </p:sp>
      <p:sp>
        <p:nvSpPr>
          <p:cNvPr id="7" name="Прямоугольник 16"/>
          <p:cNvSpPr>
            <a:spLocks noChangeArrowheads="1"/>
          </p:cNvSpPr>
          <p:nvPr/>
        </p:nvSpPr>
        <p:spPr bwMode="auto">
          <a:xfrm>
            <a:off x="386680" y="1052736"/>
            <a:ext cx="8001744" cy="52629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l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00CCFF"/>
              </a:buClr>
              <a:buSzPct val="65000"/>
              <a:buFont typeface="Wingdings" pitchFamily="2" charset="2"/>
              <a:buChar char="l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Char char="•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2400" b="1" dirty="0">
                <a:solidFill>
                  <a:schemeClr val="accent1"/>
                </a:solidFill>
                <a:latin typeface="Arial Narrow" panose="020B0606020202030204" pitchFamily="34" charset="0"/>
              </a:rPr>
              <a:t>Наиболее распространены следующие виды исследования сложных сетей:</a:t>
            </a:r>
          </a:p>
          <a:p>
            <a:pPr marL="342900" indent="-342900">
              <a:lnSpc>
                <a:spcPct val="100000"/>
              </a:lnSpc>
              <a:spcBef>
                <a:spcPct val="0"/>
              </a:spcBef>
              <a:buClrTx/>
              <a:buSzTx/>
              <a:buFont typeface="Arial Narrow" panose="020B0606020202030204" pitchFamily="34" charset="0"/>
              <a:buChar char="-"/>
            </a:pPr>
            <a:r>
              <a:rPr lang="ru-RU" altLang="ru-RU" sz="2400" b="1" dirty="0">
                <a:solidFill>
                  <a:schemeClr val="accent1"/>
                </a:solidFill>
                <a:latin typeface="Arial Narrow" panose="020B0606020202030204" pitchFamily="34" charset="0"/>
              </a:rPr>
              <a:t>Исследование статистических свойств сетей (определение основных метрик сети, выделение кластеров, поиск узлов с особыми свойствами).</a:t>
            </a:r>
          </a:p>
          <a:p>
            <a:pPr marL="342900" indent="-342900">
              <a:lnSpc>
                <a:spcPct val="100000"/>
              </a:lnSpc>
              <a:spcBef>
                <a:spcPct val="0"/>
              </a:spcBef>
              <a:buClrTx/>
              <a:buSzTx/>
              <a:buFont typeface="Arial Narrow" panose="020B0606020202030204" pitchFamily="34" charset="0"/>
              <a:buChar char="-"/>
            </a:pPr>
            <a:r>
              <a:rPr lang="ru-RU" altLang="ru-RU" sz="2400" b="1" dirty="0">
                <a:solidFill>
                  <a:schemeClr val="accent1"/>
                </a:solidFill>
                <a:latin typeface="Arial Narrow" panose="020B0606020202030204" pitchFamily="34" charset="0"/>
              </a:rPr>
              <a:t>Анализ изменения свойств сетей при изменении структуры сети (например, анализ устойчивости сети к удалению узлов или связей).</a:t>
            </a:r>
          </a:p>
          <a:p>
            <a:pPr marL="342900" indent="-342900">
              <a:lnSpc>
                <a:spcPct val="100000"/>
              </a:lnSpc>
              <a:spcBef>
                <a:spcPct val="0"/>
              </a:spcBef>
              <a:buClrTx/>
              <a:buSzTx/>
              <a:buFont typeface="Arial Narrow" panose="020B0606020202030204" pitchFamily="34" charset="0"/>
              <a:buChar char="-"/>
            </a:pPr>
            <a:r>
              <a:rPr lang="ru-RU" altLang="ru-RU" sz="2400" b="1" dirty="0">
                <a:solidFill>
                  <a:schemeClr val="accent1"/>
                </a:solidFill>
                <a:latin typeface="Arial Narrow" panose="020B0606020202030204" pitchFamily="34" charset="0"/>
              </a:rPr>
              <a:t>Диффузия информации (распространение инфекции) в сетях.</a:t>
            </a:r>
          </a:p>
          <a:p>
            <a:pPr marL="342900" indent="-342900">
              <a:lnSpc>
                <a:spcPct val="100000"/>
              </a:lnSpc>
              <a:spcBef>
                <a:spcPct val="0"/>
              </a:spcBef>
              <a:buClrTx/>
              <a:buSzTx/>
              <a:buFont typeface="Arial Narrow" panose="020B0606020202030204" pitchFamily="34" charset="0"/>
              <a:buChar char="-"/>
            </a:pPr>
            <a:r>
              <a:rPr lang="ru-RU" altLang="ru-RU" sz="2400" b="1" dirty="0">
                <a:solidFill>
                  <a:schemeClr val="accent1"/>
                </a:solidFill>
                <a:latin typeface="Arial Narrow" panose="020B0606020202030204" pitchFamily="34" charset="0"/>
              </a:rPr>
              <a:t>Поиск в сетях.</a:t>
            </a:r>
          </a:p>
          <a:p>
            <a:pPr marL="342900" indent="-342900">
              <a:lnSpc>
                <a:spcPct val="100000"/>
              </a:lnSpc>
              <a:spcBef>
                <a:spcPct val="0"/>
              </a:spcBef>
              <a:buClrTx/>
              <a:buSzTx/>
              <a:buFont typeface="Arial Narrow" panose="020B0606020202030204" pitchFamily="34" charset="0"/>
              <a:buChar char="-"/>
            </a:pPr>
            <a:r>
              <a:rPr lang="ru-RU" altLang="ru-RU" sz="2400" b="1" dirty="0">
                <a:solidFill>
                  <a:schemeClr val="accent1"/>
                </a:solidFill>
                <a:latin typeface="Arial Narrow" panose="020B0606020202030204" pitchFamily="34" charset="0"/>
              </a:rPr>
              <a:t>Создание модели сетей (определение принципа, определяющего рост сети, поиск оптимальной структуры сети). </a:t>
            </a:r>
          </a:p>
        </p:txBody>
      </p:sp>
    </p:spTree>
    <p:extLst>
      <p:ext uri="{BB962C8B-B14F-4D97-AF65-F5344CB8AC3E}">
        <p14:creationId xmlns:p14="http://schemas.microsoft.com/office/powerpoint/2010/main" val="14391822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58167" y="296571"/>
            <a:ext cx="773025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  <a:latin typeface="Arial Narrow" panose="020B0606020202030204" pitchFamily="34" charset="0"/>
              </a:rPr>
              <a:t>ПРИМЕНЕНИЕ МЕТОДОВ ТСС ДЛЯ АНАЛИЗА СЕТЕВЫХ СТРУКТУР</a:t>
            </a:r>
            <a:endParaRPr lang="ru-RU" sz="2000" b="1" dirty="0">
              <a:solidFill>
                <a:schemeClr val="accent1"/>
              </a:solidFill>
              <a:latin typeface="Arial Narrow" panose="020B060602020203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07504" y="792088"/>
            <a:ext cx="9143999" cy="7647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200" b="1" dirty="0">
                <a:solidFill>
                  <a:schemeClr val="accent1"/>
                </a:solidFill>
                <a:latin typeface="Arial Narrow" panose="020B0606020202030204" pitchFamily="34" charset="0"/>
              </a:rPr>
              <a:t>Методы теории сложных сетей позволяют на качественно новом </a:t>
            </a:r>
          </a:p>
          <a:p>
            <a:r>
              <a:rPr lang="ru-RU" sz="2200" b="1" dirty="0">
                <a:solidFill>
                  <a:schemeClr val="accent1"/>
                </a:solidFill>
                <a:latin typeface="Arial Narrow" panose="020B0606020202030204" pitchFamily="34" charset="0"/>
              </a:rPr>
              <a:t>уровне учитывать топологию реальной сети при анализе ее свойств и оценке перспектив развития сети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3848" y="1679566"/>
            <a:ext cx="1715492" cy="15334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Прямоугольник 18"/>
          <p:cNvSpPr/>
          <p:nvPr/>
        </p:nvSpPr>
        <p:spPr>
          <a:xfrm>
            <a:off x="3563888" y="2113692"/>
            <a:ext cx="886781" cy="523220"/>
          </a:xfrm>
          <a:prstGeom prst="rect">
            <a:avLst/>
          </a:prstGeom>
          <a:solidFill>
            <a:srgbClr val="FFFFFF">
              <a:alpha val="25098"/>
            </a:srgbClr>
          </a:solidFill>
        </p:spPr>
        <p:txBody>
          <a:bodyPr wrap="none">
            <a:spAutoFit/>
          </a:bodyPr>
          <a:lstStyle/>
          <a:p>
            <a:r>
              <a:rPr lang="ru-RU" altLang="ru-RU" sz="2800" b="1" dirty="0">
                <a:solidFill>
                  <a:schemeClr val="accent1"/>
                </a:solidFill>
                <a:latin typeface="Arial Narrow" panose="020B0606020202030204" pitchFamily="34" charset="0"/>
                <a:cs typeface="Arial" charset="0"/>
              </a:rPr>
              <a:t>Сеть</a:t>
            </a:r>
            <a:endParaRPr lang="ru-RU" sz="2800" dirty="0"/>
          </a:p>
        </p:txBody>
      </p:sp>
      <p:sp>
        <p:nvSpPr>
          <p:cNvPr id="21" name="Стрелка вниз 20"/>
          <p:cNvSpPr/>
          <p:nvPr/>
        </p:nvSpPr>
        <p:spPr>
          <a:xfrm rot="2812092">
            <a:off x="2468856" y="2534514"/>
            <a:ext cx="796396" cy="896348"/>
          </a:xfrm>
          <a:prstGeom prst="downArrow">
            <a:avLst/>
          </a:prstGeom>
          <a:solidFill>
            <a:srgbClr val="3888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ТСС:</a:t>
            </a:r>
          </a:p>
          <a:p>
            <a:pPr algn="ctr"/>
            <a:r>
              <a:rPr lang="ru-RU" sz="1200" dirty="0">
                <a:solidFill>
                  <a:schemeClr val="bg1"/>
                </a:solidFill>
              </a:rPr>
              <a:t>метрики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785037" y="3370543"/>
            <a:ext cx="27414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latin typeface="Arial Narrow" panose="020B0606020202030204" pitchFamily="34" charset="0"/>
                <a:cs typeface="Arial" panose="020B0604020202020204" pitchFamily="34" charset="0"/>
              </a:rPr>
              <a:t>Корректное сравнение сетей</a:t>
            </a:r>
            <a:endParaRPr lang="ru-RU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5788349" y="4228345"/>
            <a:ext cx="235296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>
                <a:latin typeface="Arial Narrow" panose="020B0606020202030204" pitchFamily="34" charset="0"/>
                <a:cs typeface="Arial" panose="020B0604020202020204" pitchFamily="34" charset="0"/>
              </a:rPr>
              <a:t>Выявление принципов роста сети</a:t>
            </a:r>
            <a:endParaRPr lang="ru-RU" dirty="0"/>
          </a:p>
        </p:txBody>
      </p:sp>
      <p:sp>
        <p:nvSpPr>
          <p:cNvPr id="24" name="Прямоугольник 23"/>
          <p:cNvSpPr/>
          <p:nvPr/>
        </p:nvSpPr>
        <p:spPr>
          <a:xfrm>
            <a:off x="4157001" y="3368265"/>
            <a:ext cx="327205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latin typeface="Arial Narrow" panose="020B0606020202030204" pitchFamily="34" charset="0"/>
                <a:cs typeface="Arial" panose="020B0604020202020204" pitchFamily="34" charset="0"/>
              </a:rPr>
              <a:t>Модели генерации сетей-аналогов</a:t>
            </a:r>
            <a:endParaRPr lang="ru-RU" dirty="0"/>
          </a:p>
        </p:txBody>
      </p:sp>
      <p:sp>
        <p:nvSpPr>
          <p:cNvPr id="25" name="Стрелка вниз 24"/>
          <p:cNvSpPr/>
          <p:nvPr/>
        </p:nvSpPr>
        <p:spPr>
          <a:xfrm rot="18968297">
            <a:off x="4771458" y="2536606"/>
            <a:ext cx="796396" cy="896348"/>
          </a:xfrm>
          <a:prstGeom prst="downArrow">
            <a:avLst/>
          </a:prstGeom>
          <a:solidFill>
            <a:srgbClr val="3888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ТСС:</a:t>
            </a:r>
          </a:p>
          <a:p>
            <a:pPr algn="ctr"/>
            <a:r>
              <a:rPr lang="ru-RU" sz="1200" dirty="0">
                <a:solidFill>
                  <a:schemeClr val="bg1"/>
                </a:solidFill>
              </a:rPr>
              <a:t>модели</a:t>
            </a:r>
          </a:p>
        </p:txBody>
      </p:sp>
      <p:cxnSp>
        <p:nvCxnSpPr>
          <p:cNvPr id="27" name="Прямая со стрелкой 26"/>
          <p:cNvCxnSpPr/>
          <p:nvPr/>
        </p:nvCxnSpPr>
        <p:spPr>
          <a:xfrm>
            <a:off x="3487762" y="3552931"/>
            <a:ext cx="648072" cy="0"/>
          </a:xfrm>
          <a:prstGeom prst="straightConnector1">
            <a:avLst/>
          </a:prstGeom>
          <a:ln w="38100">
            <a:solidFill>
              <a:srgbClr val="3888CA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Прямоугольник 28"/>
          <p:cNvSpPr/>
          <p:nvPr/>
        </p:nvSpPr>
        <p:spPr>
          <a:xfrm>
            <a:off x="1865157" y="4089846"/>
            <a:ext cx="373527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>
                <a:latin typeface="Arial Narrow" panose="020B0606020202030204" pitchFamily="34" charset="0"/>
                <a:cs typeface="Arial" panose="020B0604020202020204" pitchFamily="34" charset="0"/>
              </a:rPr>
              <a:t>Корректное выявление индивидуальных особенностей топологии сети</a:t>
            </a:r>
            <a:endParaRPr lang="ru-RU" dirty="0"/>
          </a:p>
        </p:txBody>
      </p:sp>
      <p:sp>
        <p:nvSpPr>
          <p:cNvPr id="30" name="Прямоугольник 29"/>
          <p:cNvSpPr/>
          <p:nvPr/>
        </p:nvSpPr>
        <p:spPr>
          <a:xfrm>
            <a:off x="1802290" y="5445224"/>
            <a:ext cx="373527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i="1" dirty="0">
                <a:latin typeface="Arial Narrow" panose="020B0606020202030204" pitchFamily="34" charset="0"/>
                <a:cs typeface="Arial" panose="020B0604020202020204" pitchFamily="34" charset="0"/>
              </a:rPr>
              <a:t>Корректный анализ свойств сети, определяемых ее топологией (в </a:t>
            </a:r>
            <a:r>
              <a:rPr lang="ru-RU" i="1" dirty="0" err="1">
                <a:latin typeface="Arial Narrow" panose="020B0606020202030204" pitchFamily="34" charset="0"/>
                <a:cs typeface="Arial" panose="020B0604020202020204" pitchFamily="34" charset="0"/>
              </a:rPr>
              <a:t>т.ч</a:t>
            </a:r>
            <a:r>
              <a:rPr lang="ru-RU" i="1" dirty="0">
                <a:latin typeface="Arial Narrow" panose="020B0606020202030204" pitchFamily="34" charset="0"/>
                <a:cs typeface="Arial" panose="020B0604020202020204" pitchFamily="34" charset="0"/>
              </a:rPr>
              <a:t>. имитационное моделирование динамического поведения</a:t>
            </a:r>
            <a:r>
              <a:rPr lang="ru-RU" dirty="0">
                <a:latin typeface="Arial Narrow" panose="020B0606020202030204" pitchFamily="34" charset="0"/>
                <a:cs typeface="Arial" panose="020B0604020202020204" pitchFamily="34" charset="0"/>
              </a:rPr>
              <a:t>)</a:t>
            </a:r>
            <a:endParaRPr lang="ru-RU" dirty="0"/>
          </a:p>
        </p:txBody>
      </p:sp>
      <p:sp>
        <p:nvSpPr>
          <p:cNvPr id="31" name="Прямоугольник 30"/>
          <p:cNvSpPr/>
          <p:nvPr/>
        </p:nvSpPr>
        <p:spPr>
          <a:xfrm>
            <a:off x="5364088" y="5445224"/>
            <a:ext cx="309634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i="1" dirty="0">
                <a:latin typeface="Arial Narrow" panose="020B0606020202030204" pitchFamily="34" charset="0"/>
                <a:cs typeface="Arial" panose="020B0604020202020204" pitchFamily="34" charset="0"/>
              </a:rPr>
              <a:t>Прогнозирование/управление долгосрочным развитием топологии сети</a:t>
            </a:r>
            <a:endParaRPr lang="ru-RU" i="1" dirty="0"/>
          </a:p>
        </p:txBody>
      </p:sp>
      <p:cxnSp>
        <p:nvCxnSpPr>
          <p:cNvPr id="32" name="Прямая со стрелкой 31"/>
          <p:cNvCxnSpPr/>
          <p:nvPr/>
        </p:nvCxnSpPr>
        <p:spPr>
          <a:xfrm>
            <a:off x="2793274" y="3737597"/>
            <a:ext cx="492738" cy="384515"/>
          </a:xfrm>
          <a:prstGeom prst="straightConnector1">
            <a:avLst/>
          </a:prstGeom>
          <a:ln w="38100">
            <a:solidFill>
              <a:srgbClr val="3888CA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/>
          <p:cNvCxnSpPr/>
          <p:nvPr/>
        </p:nvCxnSpPr>
        <p:spPr>
          <a:xfrm flipH="1">
            <a:off x="4322183" y="3737597"/>
            <a:ext cx="423294" cy="424910"/>
          </a:xfrm>
          <a:prstGeom prst="straightConnector1">
            <a:avLst/>
          </a:prstGeom>
          <a:ln w="38100">
            <a:solidFill>
              <a:srgbClr val="3888CA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 стрелкой 36"/>
          <p:cNvCxnSpPr/>
          <p:nvPr/>
        </p:nvCxnSpPr>
        <p:spPr>
          <a:xfrm>
            <a:off x="6113629" y="3764565"/>
            <a:ext cx="492738" cy="384515"/>
          </a:xfrm>
          <a:prstGeom prst="straightConnector1">
            <a:avLst/>
          </a:prstGeom>
          <a:ln w="38100">
            <a:solidFill>
              <a:srgbClr val="3888CA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 стрелкой 37"/>
          <p:cNvCxnSpPr/>
          <p:nvPr/>
        </p:nvCxnSpPr>
        <p:spPr>
          <a:xfrm>
            <a:off x="6917035" y="4941168"/>
            <a:ext cx="0" cy="481817"/>
          </a:xfrm>
          <a:prstGeom prst="straightConnector1">
            <a:avLst/>
          </a:prstGeom>
          <a:ln w="38100">
            <a:solidFill>
              <a:srgbClr val="3888CA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 стрелкой 39"/>
          <p:cNvCxnSpPr/>
          <p:nvPr/>
        </p:nvCxnSpPr>
        <p:spPr>
          <a:xfrm>
            <a:off x="3665357" y="5013176"/>
            <a:ext cx="0" cy="481817"/>
          </a:xfrm>
          <a:prstGeom prst="straightConnector1">
            <a:avLst/>
          </a:prstGeom>
          <a:ln w="38100">
            <a:solidFill>
              <a:srgbClr val="3888CA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03965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hAiqNWM02TwiYTtsv6o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hAiqNWM02TwiYTtsv6o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hAiqNWM02TwiYTtsv6o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hAiqNWM02TwiYTtsv6o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hAiqNWM02TwiYTtsv6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hAiqNWM02TwiYTtsv6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hAiqNWM02TwiYTtsv6o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hAiqNWM02TwiYTtsv6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hAiqNWM02TwiYTtsv6o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hAiqNWM02TwiYTtsv6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hAiqNWM02TwiYTtsv6o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hAiqNWM02TwiYTtsv6o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hAiqNWM02TwiYTtsv6o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p:Policy xmlns:p="office.server.policy" id="" local="true">
  <p:Name>Документ</p:Name>
  <p:Description/>
  <p:Statement/>
  <p:PolicyItems>
    <p:PolicyItem featureId="Microsoft.Office.RecordsManagement.PolicyFeatures.PolicyAudit" staticId="0x0101|8138272" UniqueId="3bb663b6-6dfd-4b44-94dc-b21c7008639d">
      <p:Name>аудит</p:Name>
      <p:Description>Аудит действий пользователей, выполняемых с документами и элементами списков, и запись в журнал аудита.</p:Description>
      <p:CustomData>
        <Audit>
          <Update/>
          <View/>
          <CheckInOut/>
          <MoveCopy/>
          <DeleteRestore/>
        </Audit>
      </p:CustomData>
    </p:PolicyItem>
  </p:PolicyItems>
</p:Policy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x041a__x043e__x043c__x043c__x0435__x043d__x0442__x0430__x0440__x0438__x0439_ xmlns="1b23803f-b564-4ef0-9d49-a4215fe47e7e">Шаблон презентации ОАО "Россети"</_x041a__x043e__x043c__x043c__x0435__x043d__x0442__x0430__x0440__x0438__x0439_>
  </documentManagement>
</p:properties>
</file>

<file path=customXml/item4.xml><?xml version="1.0" encoding="utf-8"?>
<?mso-contentType ?>
<spe:Receivers xmlns:spe="http://schemas.microsoft.com/sharepoint/events">
  <Receiver>
    <Name>Policy Auditing</Name>
    <Synchronization>Synchronous</Synchronization>
    <Type>10001</Type>
    <SequenceNumber>1100</SequenceNumber>
    <Url/>
    <Assembly>Microsoft.Office.Policy, Version=15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2</Type>
    <SequenceNumber>1101</SequenceNumber>
    <Url/>
    <Assembly>Microsoft.Office.Policy, Version=15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4</Type>
    <SequenceNumber>1102</SequenceNumber>
    <Url/>
    <Assembly>Microsoft.Office.Policy, Version=15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6</Type>
    <SequenceNumber>1103</SequenceNumber>
    <Url/>
    <Assembly>Microsoft.Office.Policy, Version=15.0.0.0, Culture=neutral, PublicKeyToken=71e9bce111e9429c</Assembly>
    <Class>Microsoft.Office.RecordsManagement.Internal.AuditHandler</Class>
    <Data/>
    <Filter/>
  </Receiver>
</spe:Receivers>
</file>

<file path=customXml/item5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FC7BE6BCECEEE34B800C783E0740B51E" ma:contentTypeVersion="6" ma:contentTypeDescription="Создание документа." ma:contentTypeScope="" ma:versionID="0543ae9b0f98a46f3609f7824b5f1409">
  <xsd:schema xmlns:xsd="http://www.w3.org/2001/XMLSchema" xmlns:xs="http://www.w3.org/2001/XMLSchema" xmlns:p="http://schemas.microsoft.com/office/2006/metadata/properties" xmlns:ns2="4fd16edd-4cac-4b3e-8f22-9640257b0ba9" xmlns:ns3="1b23803f-b564-4ef0-9d49-a4215fe47e7e" targetNamespace="http://schemas.microsoft.com/office/2006/metadata/properties" ma:root="true" ma:fieldsID="e3dde89fbbfc07f8bba46ed9c47a526a" ns2:_="" ns3:_="">
    <xsd:import namespace="4fd16edd-4cac-4b3e-8f22-9640257b0ba9"/>
    <xsd:import namespace="1b23803f-b564-4ef0-9d49-a4215fe47e7e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_x041a__x043e__x043c__x043c__x0435__x043d__x0442__x0430__x0440__x0438__x0439_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fd16edd-4cac-4b3e-8f22-9640257b0ba9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Значение идентификатора документа" ma:description="Значение идентификатора документа, присвоенного данному элементу." ma:internalName="_dlc_DocId" ma:readOnly="true">
      <xsd:simpleType>
        <xsd:restriction base="dms:Text"/>
      </xsd:simpleType>
    </xsd:element>
    <xsd:element name="_dlc_DocIdUrl" ma:index="9" nillable="true" ma:displayName="Идентификатор документа" ma:description="Постоянная ссылка на этот документ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Сохранить идентификатор" ma:description="Сохранять идентификатор при добавлении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b23803f-b564-4ef0-9d49-a4215fe47e7e" elementFormDefault="qualified">
    <xsd:import namespace="http://schemas.microsoft.com/office/2006/documentManagement/types"/>
    <xsd:import namespace="http://schemas.microsoft.com/office/infopath/2007/PartnerControls"/>
    <xsd:element name="_x041a__x043e__x043c__x043c__x0435__x043d__x0442__x0430__x0440__x0438__x0439_" ma:index="11" nillable="true" ma:displayName="Комментарий" ma:description="Комментарий" ma:internalName="_x041a__x043e__x043c__x043c__x0435__x043d__x0442__x0430__x0440__x0438__x0439_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axOccurs="1" ma:index="4" ma:displayName="Название шаблона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C72F38B-CEDD-4D22-A56D-8E7CACAD7DF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E44B598-9456-443B-9216-AB3B14D4DF29}">
  <ds:schemaRefs>
    <ds:schemaRef ds:uri="office.server.policy"/>
  </ds:schemaRefs>
</ds:datastoreItem>
</file>

<file path=customXml/itemProps3.xml><?xml version="1.0" encoding="utf-8"?>
<ds:datastoreItem xmlns:ds="http://schemas.openxmlformats.org/officeDocument/2006/customXml" ds:itemID="{C98F64E5-4A0E-4549-AF8F-466D87FA8EDC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4fd16edd-4cac-4b3e-8f22-9640257b0ba9"/>
    <ds:schemaRef ds:uri="http://purl.org/dc/terms/"/>
    <ds:schemaRef ds:uri="1b23803f-b564-4ef0-9d49-a4215fe47e7e"/>
    <ds:schemaRef ds:uri="http://www.w3.org/XML/1998/namespace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A2F680EF-2602-477F-8E98-2CBB1282A1B0}">
  <ds:schemaRefs>
    <ds:schemaRef ds:uri="http://schemas.microsoft.com/sharepoint/events"/>
  </ds:schemaRefs>
</ds:datastoreItem>
</file>

<file path=customXml/itemProps5.xml><?xml version="1.0" encoding="utf-8"?>
<ds:datastoreItem xmlns:ds="http://schemas.openxmlformats.org/officeDocument/2006/customXml" ds:itemID="{86863E6D-A7B7-4ABA-BFFB-4B0447C27AF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fd16edd-4cac-4b3e-8f22-9640257b0ba9"/>
    <ds:schemaRef ds:uri="1b23803f-b564-4ef0-9d49-a4215fe47e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3966</TotalTime>
  <Words>1043</Words>
  <Application>Microsoft Office PowerPoint</Application>
  <PresentationFormat>Экран (4:3)</PresentationFormat>
  <Paragraphs>178</Paragraphs>
  <Slides>21</Slides>
  <Notes>1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3</vt:i4>
      </vt:variant>
      <vt:variant>
        <vt:lpstr>Заголовки слайдов</vt:lpstr>
      </vt:variant>
      <vt:variant>
        <vt:i4>21</vt:i4>
      </vt:variant>
    </vt:vector>
  </HeadingPairs>
  <TitlesOfParts>
    <vt:vector size="30" baseType="lpstr">
      <vt:lpstr>Arial</vt:lpstr>
      <vt:lpstr>Arial Narrow</vt:lpstr>
      <vt:lpstr>Calibri</vt:lpstr>
      <vt:lpstr>Cambria Math</vt:lpstr>
      <vt:lpstr>Times New Roman</vt:lpstr>
      <vt:lpstr>Wingdings</vt:lpstr>
      <vt:lpstr>Тема Office</vt:lpstr>
      <vt:lpstr>Специальное оформление</vt:lpstr>
      <vt:lpstr>1_Специальное оформление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Богомолов А.Ю.</dc:creator>
  <cp:lastModifiedBy>Макрушин Сергей Вячеславович</cp:lastModifiedBy>
  <cp:revision>568</cp:revision>
  <cp:lastPrinted>2017-04-11T15:53:17Z</cp:lastPrinted>
  <dcterms:created xsi:type="dcterms:W3CDTF">2014-08-15T10:42:13Z</dcterms:created>
  <dcterms:modified xsi:type="dcterms:W3CDTF">2018-03-27T07:07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C7BE6BCECEEE34B800C783E0740B51E</vt:lpwstr>
  </property>
</Properties>
</file>